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07" r:id="rId1"/>
    <p:sldMasterId id="2147484010" r:id="rId2"/>
  </p:sldMasterIdLst>
  <p:notesMasterIdLst>
    <p:notesMasterId r:id="rId38"/>
  </p:notesMasterIdLst>
  <p:handoutMasterIdLst>
    <p:handoutMasterId r:id="rId39"/>
  </p:handoutMasterIdLst>
  <p:sldIdLst>
    <p:sldId id="407" r:id="rId3"/>
    <p:sldId id="408" r:id="rId4"/>
    <p:sldId id="439" r:id="rId5"/>
    <p:sldId id="410" r:id="rId6"/>
    <p:sldId id="411" r:id="rId7"/>
    <p:sldId id="304" r:id="rId8"/>
    <p:sldId id="412" r:id="rId9"/>
    <p:sldId id="413" r:id="rId10"/>
    <p:sldId id="414" r:id="rId11"/>
    <p:sldId id="372" r:id="rId12"/>
    <p:sldId id="415" r:id="rId13"/>
    <p:sldId id="416" r:id="rId14"/>
    <p:sldId id="417" r:id="rId15"/>
    <p:sldId id="418" r:id="rId16"/>
    <p:sldId id="420" r:id="rId17"/>
    <p:sldId id="421" r:id="rId18"/>
    <p:sldId id="422" r:id="rId19"/>
    <p:sldId id="423" r:id="rId20"/>
    <p:sldId id="424" r:id="rId21"/>
    <p:sldId id="425" r:id="rId22"/>
    <p:sldId id="384" r:id="rId23"/>
    <p:sldId id="426" r:id="rId24"/>
    <p:sldId id="427" r:id="rId25"/>
    <p:sldId id="428" r:id="rId26"/>
    <p:sldId id="429" r:id="rId27"/>
    <p:sldId id="430" r:id="rId28"/>
    <p:sldId id="397" r:id="rId29"/>
    <p:sldId id="431" r:id="rId30"/>
    <p:sldId id="400" r:id="rId31"/>
    <p:sldId id="432" r:id="rId32"/>
    <p:sldId id="433" r:id="rId33"/>
    <p:sldId id="434" r:id="rId34"/>
    <p:sldId id="436" r:id="rId35"/>
    <p:sldId id="437" r:id="rId36"/>
    <p:sldId id="438" r:id="rId37"/>
  </p:sldIdLst>
  <p:sldSz cx="12192000" cy="6858000"/>
  <p:notesSz cx="7099300" cy="10234613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5pPr>
    <a:lvl6pPr marL="22860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6pPr>
    <a:lvl7pPr marL="27432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7pPr>
    <a:lvl8pPr marL="32004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8pPr>
    <a:lvl9pPr marL="36576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457D"/>
    <a:srgbClr val="CE4C4B"/>
    <a:srgbClr val="0000FF"/>
    <a:srgbClr val="E7E9F0"/>
    <a:srgbClr val="8D42C6"/>
    <a:srgbClr val="94B6D2"/>
    <a:srgbClr val="996633"/>
    <a:srgbClr val="666633"/>
    <a:srgbClr val="336600"/>
    <a:srgbClr val="614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006" autoAdjust="0"/>
    <p:restoredTop sz="94027" autoAdjust="0"/>
  </p:normalViewPr>
  <p:slideViewPr>
    <p:cSldViewPr>
      <p:cViewPr varScale="1">
        <p:scale>
          <a:sx n="113" d="100"/>
          <a:sy n="113" d="100"/>
        </p:scale>
        <p:origin x="108" y="15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-2076" y="-90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ableStyles" Target="tableStyle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300">
                <a:ea typeface="新細明體" pitchFamily="18" charset="-120"/>
              </a:defRPr>
            </a:lvl1pPr>
          </a:lstStyle>
          <a:p>
            <a:pPr>
              <a:defRPr/>
            </a:pPr>
            <a:r>
              <a:rPr lang="zh-TW" altLang="en-US" dirty="0">
                <a:latin typeface="Arial" panose="020B0604020202020204" pitchFamily="34" charset="0"/>
              </a:rPr>
              <a:t>楊尚峰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56743" y="0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 dirty="0">
              <a:latin typeface="Arial" panose="020B0604020202020204" pitchFamily="34" charset="0"/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09052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300">
                <a:ea typeface="新細明體" pitchFamily="18" charset="-120"/>
              </a:defRPr>
            </a:lvl1pPr>
          </a:lstStyle>
          <a:p>
            <a:pPr>
              <a:defRPr/>
            </a:pPr>
            <a:r>
              <a:rPr lang="en-US" altLang="zh-TW" dirty="0" err="1">
                <a:latin typeface="Arial" panose="020B0604020202020204" pitchFamily="34" charset="0"/>
              </a:rPr>
              <a:t>Matlab</a:t>
            </a:r>
            <a:r>
              <a:rPr lang="en-US" altLang="zh-TW" dirty="0">
                <a:latin typeface="Arial" panose="020B0604020202020204" pitchFamily="34" charset="0"/>
              </a:rPr>
              <a:t> </a:t>
            </a:r>
            <a:r>
              <a:rPr lang="zh-TW" altLang="en-US" dirty="0">
                <a:latin typeface="Arial" panose="020B0604020202020204" pitchFamily="34" charset="0"/>
              </a:rPr>
              <a:t>簡介</a:t>
            </a: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56743" y="9709052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ea typeface="新細明體" pitchFamily="18" charset="-120"/>
              </a:defRPr>
            </a:lvl1pPr>
          </a:lstStyle>
          <a:p>
            <a:pPr>
              <a:defRPr/>
            </a:pPr>
            <a:fld id="{FC87EB3B-6E22-4901-A3A3-B25238DF1E21}" type="slidenum">
              <a:rPr lang="zh-TW" altLang="en-US">
                <a:latin typeface="Arial" panose="020B0604020202020204" pitchFamily="34" charset="0"/>
              </a:rPr>
              <a:pPr>
                <a:defRPr/>
              </a:pPr>
              <a:t>‹#›</a:t>
            </a:fld>
            <a:endParaRPr lang="en-US" altLang="zh-TW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88824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6" name="Rectangle 8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t" anchorCtr="0" compatLnSpc="1">
            <a:prstTxWarp prst="textNoShape">
              <a:avLst/>
            </a:prstTxWarp>
          </a:bodyPr>
          <a:lstStyle>
            <a:lvl1pPr eaLnBrk="1" hangingPunct="1">
              <a:defRPr kumimoji="0" sz="1300">
                <a:latin typeface="Arial" panose="020B0604020202020204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93187" name="Rectangle 9"/>
          <p:cNvSpPr>
            <a:spLocks noGrp="1" noRot="1" noChangeAspect="1" noChangeArrowheads="1"/>
          </p:cNvSpPr>
          <p:nvPr>
            <p:ph type="sldImg" idx="2"/>
          </p:nvPr>
        </p:nvSpPr>
        <p:spPr bwMode="auto">
          <a:xfrm>
            <a:off x="82550" y="746125"/>
            <a:ext cx="6934200" cy="39004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58" name="Rectangle 10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6172" y="4896018"/>
            <a:ext cx="5226957" cy="4564084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noProof="0" dirty="0"/>
              <a:t>按一下以編輯母片文字樣式</a:t>
            </a:r>
          </a:p>
          <a:p>
            <a:pPr lvl="1"/>
            <a:r>
              <a:rPr lang="zh-TW" altLang="en-US" noProof="0" dirty="0"/>
              <a:t>第二層</a:t>
            </a:r>
          </a:p>
          <a:p>
            <a:pPr lvl="2"/>
            <a:r>
              <a:rPr lang="zh-TW" altLang="en-US" noProof="0" dirty="0"/>
              <a:t>第三層</a:t>
            </a:r>
          </a:p>
          <a:p>
            <a:pPr lvl="3"/>
            <a:r>
              <a:rPr lang="zh-TW" altLang="en-US" noProof="0" dirty="0"/>
              <a:t>第四層</a:t>
            </a:r>
          </a:p>
          <a:p>
            <a:pPr lvl="4"/>
            <a:r>
              <a:rPr lang="zh-TW" altLang="en-US" noProof="0" dirty="0"/>
              <a:t>第五層</a:t>
            </a:r>
            <a:endParaRPr lang="zh-TW" altLang="zh-TW" noProof="0" dirty="0"/>
          </a:p>
        </p:txBody>
      </p:sp>
      <p:sp>
        <p:nvSpPr>
          <p:cNvPr id="2059" name="Rectangle 11"/>
          <p:cNvSpPr>
            <a:spLocks noGrp="1" noChangeArrowheads="1"/>
          </p:cNvSpPr>
          <p:nvPr>
            <p:ph type="dt" idx="1"/>
          </p:nvPr>
        </p:nvSpPr>
        <p:spPr bwMode="auto">
          <a:xfrm>
            <a:off x="4056743" y="0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1300">
                <a:latin typeface="Arial" panose="020B0604020202020204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2060" name="Rectangle 12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09052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0" sz="1300">
                <a:latin typeface="Arial" panose="020B0604020202020204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2061" name="Rectangle 13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56743" y="9709052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1300">
                <a:latin typeface="Arial" panose="020B0604020202020204" pitchFamily="34" charset="0"/>
                <a:ea typeface="新細明體" pitchFamily="18" charset="-120"/>
              </a:defRPr>
            </a:lvl1pPr>
          </a:lstStyle>
          <a:p>
            <a:pPr>
              <a:defRPr/>
            </a:pPr>
            <a:fld id="{9E74AC7C-CC5D-4B84-B1B5-64107E70B8E7}" type="slidenum">
              <a:rPr lang="zh-TW" altLang="en-US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9732326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3345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anose="020B0604020202020204" pitchFamily="34" charset="0"/>
        <a:ea typeface="新細明體" pitchFamily="18" charset="-120"/>
        <a:cs typeface="+mn-cs"/>
      </a:defRPr>
    </a:lvl1pPr>
    <a:lvl2pPr marL="461963" algn="l" defTabSz="93345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anose="020B0604020202020204" pitchFamily="34" charset="0"/>
        <a:ea typeface="新細明體" pitchFamily="18" charset="-120"/>
        <a:cs typeface="+mn-cs"/>
      </a:defRPr>
    </a:lvl2pPr>
    <a:lvl3pPr marL="923925" algn="l" defTabSz="93345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anose="020B0604020202020204" pitchFamily="34" charset="0"/>
        <a:ea typeface="新細明體" pitchFamily="18" charset="-120"/>
        <a:cs typeface="+mn-cs"/>
      </a:defRPr>
    </a:lvl3pPr>
    <a:lvl4pPr marL="1387475" algn="l" defTabSz="93345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anose="020B0604020202020204" pitchFamily="34" charset="0"/>
        <a:ea typeface="新細明體" pitchFamily="18" charset="-120"/>
        <a:cs typeface="+mn-cs"/>
      </a:defRPr>
    </a:lvl4pPr>
    <a:lvl5pPr marL="1849438" algn="l" defTabSz="93345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anose="020B0604020202020204" pitchFamily="34" charset="0"/>
        <a:ea typeface="新細明體" pitchFamily="18" charset="-12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132457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13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70453" fontAlgn="auto">
              <a:spcBef>
                <a:spcPts val="0"/>
              </a:spcBef>
              <a:spcAft>
                <a:spcPts val="0"/>
              </a:spcAft>
              <a:defRPr/>
            </a:pPr>
            <a:fld id="{23AEF40F-32E0-4A2E-9AE2-358624DFA9BA}" type="slidenum">
              <a:rPr lang="zh-TW" altLang="en-US" sz="1400">
                <a:solidFill>
                  <a:prstClr val="black"/>
                </a:solidFill>
                <a:latin typeface="Calibri"/>
              </a:rPr>
              <a:pPr defTabSz="970453" fontAlgn="auto">
                <a:spcBef>
                  <a:spcPts val="0"/>
                </a:spcBef>
                <a:spcAft>
                  <a:spcPts val="0"/>
                </a:spcAft>
                <a:defRPr/>
              </a:pPr>
              <a:t>5</a:t>
            </a:fld>
            <a:endParaRPr lang="en-US" altLang="zh-TW" sz="14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03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79375" y="836613"/>
            <a:ext cx="7426325" cy="4178300"/>
          </a:xfrm>
          <a:ln/>
        </p:spPr>
      </p:sp>
      <p:sp>
        <p:nvSpPr>
          <p:cNvPr id="1003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r>
              <a:rPr lang="en-US" altLang="zh-TW"/>
              <a:t>lcm, Least common multiple (</a:t>
            </a:r>
            <a:r>
              <a:rPr lang="zh-TW" altLang="en-US"/>
              <a:t>最小公倍數</a:t>
            </a:r>
            <a:r>
              <a:rPr lang="en-US" altLang="zh-TW"/>
              <a:t>)</a:t>
            </a:r>
          </a:p>
          <a:p>
            <a:pPr eaLnBrk="1" hangingPunct="1"/>
            <a:r>
              <a:rPr lang="en-US" altLang="zh-TW">
                <a:ea typeface="標楷體" pitchFamily="65" charset="-120"/>
              </a:rPr>
              <a:t>Gcd, </a:t>
            </a:r>
            <a:r>
              <a:rPr lang="en-US" altLang="zh-TW"/>
              <a:t>Greatest common divisor (</a:t>
            </a:r>
            <a:r>
              <a:rPr lang="zh-TW" altLang="en-US"/>
              <a:t>最大公因數</a:t>
            </a:r>
            <a:r>
              <a:rPr lang="en-US" altLang="zh-TW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082121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任意多边形: 形状 3">
            <a:extLst>
              <a:ext uri="{FF2B5EF4-FFF2-40B4-BE49-F238E27FC236}">
                <a16:creationId xmlns:a16="http://schemas.microsoft.com/office/drawing/2014/main" id="{06520DCF-DA61-4D14-AE07-15B7F11C9D32}"/>
              </a:ext>
            </a:extLst>
          </p:cNvPr>
          <p:cNvSpPr/>
          <p:nvPr userDrawn="1"/>
        </p:nvSpPr>
        <p:spPr>
          <a:xfrm>
            <a:off x="-3175" y="-3175"/>
            <a:ext cx="12198350" cy="6864350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12" name="任意多边形: 形状 4">
            <a:extLst>
              <a:ext uri="{FF2B5EF4-FFF2-40B4-BE49-F238E27FC236}">
                <a16:creationId xmlns:a16="http://schemas.microsoft.com/office/drawing/2014/main" id="{C5E579F9-9089-46E8-880D-9A5453E7D2E7}"/>
              </a:ext>
            </a:extLst>
          </p:cNvPr>
          <p:cNvSpPr/>
          <p:nvPr userDrawn="1"/>
        </p:nvSpPr>
        <p:spPr>
          <a:xfrm>
            <a:off x="5273293" y="-3175"/>
            <a:ext cx="6921500" cy="6864350"/>
          </a:xfrm>
          <a:custGeom>
            <a:avLst/>
            <a:gdLst>
              <a:gd name="connsiteX0" fmla="*/ 5248657 w 6921500"/>
              <a:gd name="connsiteY0" fmla="*/ 1030605 h 6864350"/>
              <a:gd name="connsiteX1" fmla="*/ 72137 w 6921500"/>
              <a:gd name="connsiteY1" fmla="*/ 6324600 h 6864350"/>
              <a:gd name="connsiteX2" fmla="*/ 3557 w 6921500"/>
              <a:gd name="connsiteY2" fmla="*/ 6861175 h 6864350"/>
              <a:gd name="connsiteX3" fmla="*/ 6918707 w 6921500"/>
              <a:gd name="connsiteY3" fmla="*/ 6861175 h 6864350"/>
              <a:gd name="connsiteX4" fmla="*/ 6918707 w 6921500"/>
              <a:gd name="connsiteY4" fmla="*/ 3175 h 6864350"/>
              <a:gd name="connsiteX5" fmla="*/ 5663313 w 6921500"/>
              <a:gd name="connsiteY5" fmla="*/ 3175 h 6864350"/>
              <a:gd name="connsiteX6" fmla="*/ 5248657 w 6921500"/>
              <a:gd name="connsiteY6" fmla="*/ 103060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21500" h="6864350">
                <a:moveTo>
                  <a:pt x="5248657" y="1030605"/>
                </a:moveTo>
                <a:cubicBezTo>
                  <a:pt x="4744467" y="1462405"/>
                  <a:pt x="72137" y="6324600"/>
                  <a:pt x="72137" y="6324600"/>
                </a:cubicBezTo>
                <a:cubicBezTo>
                  <a:pt x="72137" y="6324600"/>
                  <a:pt x="-2793" y="6593206"/>
                  <a:pt x="3557" y="6861175"/>
                </a:cubicBezTo>
                <a:lnTo>
                  <a:pt x="6918707" y="6861175"/>
                </a:lnTo>
                <a:lnTo>
                  <a:pt x="6918707" y="3175"/>
                </a:lnTo>
                <a:lnTo>
                  <a:pt x="5663313" y="3175"/>
                </a:lnTo>
                <a:cubicBezTo>
                  <a:pt x="5655692" y="276225"/>
                  <a:pt x="5587747" y="740410"/>
                  <a:pt x="5248657" y="1030605"/>
                </a:cubicBezTo>
                <a:close/>
              </a:path>
            </a:pathLst>
          </a:custGeom>
          <a:solidFill>
            <a:srgbClr val="8FBFF9">
              <a:lumMod val="60000"/>
              <a:lumOff val="4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13" name="任意多边形: 形状 5">
            <a:extLst>
              <a:ext uri="{FF2B5EF4-FFF2-40B4-BE49-F238E27FC236}">
                <a16:creationId xmlns:a16="http://schemas.microsoft.com/office/drawing/2014/main" id="{B022E879-35B8-4679-A9A8-63D3D4401CE2}"/>
              </a:ext>
            </a:extLst>
          </p:cNvPr>
          <p:cNvSpPr/>
          <p:nvPr userDrawn="1"/>
        </p:nvSpPr>
        <p:spPr>
          <a:xfrm>
            <a:off x="-3175" y="-3175"/>
            <a:ext cx="4114800" cy="3454400"/>
          </a:xfrm>
          <a:custGeom>
            <a:avLst/>
            <a:gdLst>
              <a:gd name="connsiteX0" fmla="*/ 3175 w 4114800"/>
              <a:gd name="connsiteY0" fmla="*/ 3449320 h 3454400"/>
              <a:gd name="connsiteX1" fmla="*/ 661670 w 4114800"/>
              <a:gd name="connsiteY1" fmla="*/ 2989580 h 3454400"/>
              <a:gd name="connsiteX2" fmla="*/ 2552065 w 4114800"/>
              <a:gd name="connsiteY2" fmla="*/ 1466850 h 3454400"/>
              <a:gd name="connsiteX3" fmla="*/ 4074795 w 4114800"/>
              <a:gd name="connsiteY3" fmla="*/ 626745 h 3454400"/>
              <a:gd name="connsiteX4" fmla="*/ 3412490 w 4114800"/>
              <a:gd name="connsiteY4" fmla="*/ 3175 h 3454400"/>
              <a:gd name="connsiteX5" fmla="*/ 3175 w 4114800"/>
              <a:gd name="connsiteY5" fmla="*/ 3175 h 3454400"/>
              <a:gd name="connsiteX6" fmla="*/ 3175 w 4114800"/>
              <a:gd name="connsiteY6" fmla="*/ 3449320 h 345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14800" h="3454400">
                <a:moveTo>
                  <a:pt x="3175" y="3449320"/>
                </a:moveTo>
                <a:cubicBezTo>
                  <a:pt x="214630" y="3479165"/>
                  <a:pt x="483235" y="3389630"/>
                  <a:pt x="661670" y="2989580"/>
                </a:cubicBezTo>
                <a:cubicBezTo>
                  <a:pt x="1082040" y="2044065"/>
                  <a:pt x="1869440" y="1203960"/>
                  <a:pt x="2552065" y="1466850"/>
                </a:cubicBezTo>
                <a:cubicBezTo>
                  <a:pt x="3234690" y="1729740"/>
                  <a:pt x="4337685" y="1414145"/>
                  <a:pt x="4074795" y="626745"/>
                </a:cubicBezTo>
                <a:cubicBezTo>
                  <a:pt x="3990340" y="370205"/>
                  <a:pt x="3728085" y="164465"/>
                  <a:pt x="3412490" y="3175"/>
                </a:cubicBezTo>
                <a:lnTo>
                  <a:pt x="3175" y="3175"/>
                </a:lnTo>
                <a:lnTo>
                  <a:pt x="3175" y="3449320"/>
                </a:lnTo>
                <a:close/>
              </a:path>
            </a:pathLst>
          </a:custGeom>
          <a:solidFill>
            <a:srgbClr val="C1DCFF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14" name="任意多边形: 形状 6">
            <a:extLst>
              <a:ext uri="{FF2B5EF4-FFF2-40B4-BE49-F238E27FC236}">
                <a16:creationId xmlns:a16="http://schemas.microsoft.com/office/drawing/2014/main" id="{FD3C3680-6920-403D-BF86-14398F569C70}"/>
              </a:ext>
            </a:extLst>
          </p:cNvPr>
          <p:cNvSpPr/>
          <p:nvPr userDrawn="1"/>
        </p:nvSpPr>
        <p:spPr>
          <a:xfrm>
            <a:off x="-3175" y="-3175"/>
            <a:ext cx="3454400" cy="2876550"/>
          </a:xfrm>
          <a:custGeom>
            <a:avLst/>
            <a:gdLst>
              <a:gd name="connsiteX0" fmla="*/ 3175 w 3454400"/>
              <a:gd name="connsiteY0" fmla="*/ 2875280 h 2876550"/>
              <a:gd name="connsiteX1" fmla="*/ 511175 w 3454400"/>
              <a:gd name="connsiteY1" fmla="*/ 2478405 h 2876550"/>
              <a:gd name="connsiteX2" fmla="*/ 2123440 w 3454400"/>
              <a:gd name="connsiteY2" fmla="*/ 1179830 h 2876550"/>
              <a:gd name="connsiteX3" fmla="*/ 3422015 w 3454400"/>
              <a:gd name="connsiteY3" fmla="*/ 463550 h 2876550"/>
              <a:gd name="connsiteX4" fmla="*/ 2985135 w 3454400"/>
              <a:gd name="connsiteY4" fmla="*/ 3175 h 2876550"/>
              <a:gd name="connsiteX5" fmla="*/ 3175 w 3454400"/>
              <a:gd name="connsiteY5" fmla="*/ 3175 h 2876550"/>
              <a:gd name="connsiteX6" fmla="*/ 3175 w 3454400"/>
              <a:gd name="connsiteY6" fmla="*/ 2875280 h 287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54400" h="2876550">
                <a:moveTo>
                  <a:pt x="3175" y="2875280"/>
                </a:moveTo>
                <a:cubicBezTo>
                  <a:pt x="167005" y="2876550"/>
                  <a:pt x="375285" y="2783205"/>
                  <a:pt x="511175" y="2478405"/>
                </a:cubicBezTo>
                <a:cubicBezTo>
                  <a:pt x="869315" y="1672590"/>
                  <a:pt x="1541145" y="955675"/>
                  <a:pt x="2123440" y="1179830"/>
                </a:cubicBezTo>
                <a:cubicBezTo>
                  <a:pt x="2705735" y="1403985"/>
                  <a:pt x="3646170" y="1134745"/>
                  <a:pt x="3422015" y="463550"/>
                </a:cubicBezTo>
                <a:cubicBezTo>
                  <a:pt x="3361055" y="281305"/>
                  <a:pt x="3194685" y="128905"/>
                  <a:pt x="2985135" y="3175"/>
                </a:cubicBezTo>
                <a:lnTo>
                  <a:pt x="3175" y="3175"/>
                </a:lnTo>
                <a:lnTo>
                  <a:pt x="3175" y="2875280"/>
                </a:lnTo>
                <a:close/>
              </a:path>
            </a:pathLst>
          </a:custGeom>
          <a:solidFill>
            <a:srgbClr val="A8BFFF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15" name="任意多边形: 形状 7">
            <a:extLst>
              <a:ext uri="{FF2B5EF4-FFF2-40B4-BE49-F238E27FC236}">
                <a16:creationId xmlns:a16="http://schemas.microsoft.com/office/drawing/2014/main" id="{09B0EA7E-BB83-4657-94D9-2C3B9030ACD3}"/>
              </a:ext>
            </a:extLst>
          </p:cNvPr>
          <p:cNvSpPr/>
          <p:nvPr userDrawn="1"/>
        </p:nvSpPr>
        <p:spPr>
          <a:xfrm>
            <a:off x="717550" y="533400"/>
            <a:ext cx="10756900" cy="5791200"/>
          </a:xfrm>
          <a:prstGeom prst="roundRect">
            <a:avLst>
              <a:gd name="adj" fmla="val 3885"/>
            </a:avLst>
          </a:prstGeom>
          <a:solidFill>
            <a:srgbClr val="FFFFFF"/>
          </a:solidFill>
          <a:ln w="6350" cap="flat">
            <a:noFill/>
            <a:prstDash val="solid"/>
            <a:miter/>
          </a:ln>
          <a:effectLst>
            <a:outerShdw blurRad="228600" dist="38100" dir="2700000" algn="tl" rotWithShape="0">
              <a:schemeClr val="accent1">
                <a:lumMod val="60000"/>
                <a:lumOff val="40000"/>
                <a:alpha val="26000"/>
              </a:scheme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20" name="任意多边形: 形状 9852">
            <a:extLst>
              <a:ext uri="{FF2B5EF4-FFF2-40B4-BE49-F238E27FC236}">
                <a16:creationId xmlns:a16="http://schemas.microsoft.com/office/drawing/2014/main" id="{5768ACB9-8152-46E7-9094-AF576368C7BC}"/>
              </a:ext>
            </a:extLst>
          </p:cNvPr>
          <p:cNvSpPr/>
          <p:nvPr userDrawn="1"/>
        </p:nvSpPr>
        <p:spPr>
          <a:xfrm>
            <a:off x="717550" y="533400"/>
            <a:ext cx="3390900" cy="2317750"/>
          </a:xfrm>
          <a:custGeom>
            <a:avLst/>
            <a:gdLst>
              <a:gd name="connsiteX0" fmla="*/ 3175 w 3390900"/>
              <a:gd name="connsiteY0" fmla="*/ 2318385 h 2317750"/>
              <a:gd name="connsiteX1" fmla="*/ 1831340 w 3390900"/>
              <a:gd name="connsiteY1" fmla="*/ 929640 h 2317750"/>
              <a:gd name="connsiteX2" fmla="*/ 3354070 w 3390900"/>
              <a:gd name="connsiteY2" fmla="*/ 89535 h 2317750"/>
              <a:gd name="connsiteX3" fmla="*/ 3317875 w 3390900"/>
              <a:gd name="connsiteY3" fmla="*/ 3175 h 2317750"/>
              <a:gd name="connsiteX4" fmla="*/ 3175 w 3390900"/>
              <a:gd name="connsiteY4" fmla="*/ 3175 h 2317750"/>
              <a:gd name="connsiteX5" fmla="*/ 3175 w 3390900"/>
              <a:gd name="connsiteY5" fmla="*/ 2318385 h 23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90900" h="2317750">
                <a:moveTo>
                  <a:pt x="3175" y="2318385"/>
                </a:moveTo>
                <a:cubicBezTo>
                  <a:pt x="435610" y="1430020"/>
                  <a:pt x="1181100" y="679450"/>
                  <a:pt x="1831340" y="929640"/>
                </a:cubicBezTo>
                <a:cubicBezTo>
                  <a:pt x="2513965" y="1192530"/>
                  <a:pt x="3616960" y="876935"/>
                  <a:pt x="3354070" y="89535"/>
                </a:cubicBezTo>
                <a:cubicBezTo>
                  <a:pt x="3344545" y="60325"/>
                  <a:pt x="3331845" y="31115"/>
                  <a:pt x="3317875" y="3175"/>
                </a:cubicBezTo>
                <a:lnTo>
                  <a:pt x="3175" y="3175"/>
                </a:lnTo>
                <a:lnTo>
                  <a:pt x="3175" y="2318385"/>
                </a:lnTo>
                <a:close/>
              </a:path>
            </a:pathLst>
          </a:custGeom>
          <a:solidFill>
            <a:srgbClr val="C1DCFF">
              <a:alpha val="6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21" name="任意多边形: 形状 9853">
            <a:extLst>
              <a:ext uri="{FF2B5EF4-FFF2-40B4-BE49-F238E27FC236}">
                <a16:creationId xmlns:a16="http://schemas.microsoft.com/office/drawing/2014/main" id="{1D6433B4-443D-497B-B60E-9CFC49A0DFCD}"/>
              </a:ext>
            </a:extLst>
          </p:cNvPr>
          <p:cNvSpPr/>
          <p:nvPr userDrawn="1"/>
        </p:nvSpPr>
        <p:spPr>
          <a:xfrm>
            <a:off x="717550" y="533400"/>
            <a:ext cx="2736850" cy="1536700"/>
          </a:xfrm>
          <a:custGeom>
            <a:avLst/>
            <a:gdLst>
              <a:gd name="connsiteX0" fmla="*/ 3175 w 2736850"/>
              <a:gd name="connsiteY0" fmla="*/ 1534160 h 1536700"/>
              <a:gd name="connsiteX1" fmla="*/ 1402080 w 2736850"/>
              <a:gd name="connsiteY1" fmla="*/ 643255 h 1536700"/>
              <a:gd name="connsiteX2" fmla="*/ 2721610 w 2736850"/>
              <a:gd name="connsiteY2" fmla="*/ 3175 h 1536700"/>
              <a:gd name="connsiteX3" fmla="*/ 3175 w 2736850"/>
              <a:gd name="connsiteY3" fmla="*/ 3175 h 1536700"/>
              <a:gd name="connsiteX4" fmla="*/ 3175 w 2736850"/>
              <a:gd name="connsiteY4" fmla="*/ 1534160 h 153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36850" h="1536700">
                <a:moveTo>
                  <a:pt x="3175" y="1534160"/>
                </a:moveTo>
                <a:cubicBezTo>
                  <a:pt x="379095" y="915035"/>
                  <a:pt x="921385" y="458470"/>
                  <a:pt x="1402080" y="643255"/>
                </a:cubicBezTo>
                <a:cubicBezTo>
                  <a:pt x="1961515" y="858520"/>
                  <a:pt x="2852420" y="618490"/>
                  <a:pt x="2721610" y="3175"/>
                </a:cubicBezTo>
                <a:lnTo>
                  <a:pt x="3175" y="3175"/>
                </a:lnTo>
                <a:lnTo>
                  <a:pt x="3175" y="1534160"/>
                </a:lnTo>
                <a:close/>
              </a:path>
            </a:pathLst>
          </a:custGeom>
          <a:solidFill>
            <a:srgbClr val="ABC2FF">
              <a:alpha val="6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383699" y="1835871"/>
            <a:ext cx="5470981" cy="1289088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rgbClr val="0E457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383698" y="3152811"/>
            <a:ext cx="5844995" cy="425702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rgbClr val="0E457D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83698" y="4484238"/>
            <a:ext cx="2315101" cy="258922"/>
          </a:xfrm>
          <a:prstGeom prst="roundRect">
            <a:avLst>
              <a:gd name="adj" fmla="val 43154"/>
            </a:avLst>
          </a:prstGeom>
          <a:solidFill>
            <a:schemeClr val="accent1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383699" y="4854433"/>
            <a:ext cx="5844996" cy="29639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0E457D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702F86C1-24CD-49C9-B4DA-98D45882771F}"/>
              </a:ext>
            </a:extLst>
          </p:cNvPr>
          <p:cNvGrpSpPr/>
          <p:nvPr userDrawn="1"/>
        </p:nvGrpSpPr>
        <p:grpSpPr>
          <a:xfrm>
            <a:off x="5889782" y="893221"/>
            <a:ext cx="5228505" cy="5016206"/>
            <a:chOff x="5889782" y="893221"/>
            <a:chExt cx="5228505" cy="5016206"/>
          </a:xfrm>
        </p:grpSpPr>
        <p:sp>
          <p:nvSpPr>
            <p:cNvPr id="1128" name="îṣḷïde">
              <a:extLst>
                <a:ext uri="{FF2B5EF4-FFF2-40B4-BE49-F238E27FC236}">
                  <a16:creationId xmlns:a16="http://schemas.microsoft.com/office/drawing/2014/main" id="{0BAACA35-B8F5-49E4-BDF2-28AD92F51B89}"/>
                </a:ext>
              </a:extLst>
            </p:cNvPr>
            <p:cNvSpPr/>
            <p:nvPr userDrawn="1"/>
          </p:nvSpPr>
          <p:spPr bwMode="auto">
            <a:xfrm>
              <a:off x="6241970" y="2667325"/>
              <a:ext cx="648420" cy="1525598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29" name="ïšḻíḍê">
              <a:extLst>
                <a:ext uri="{FF2B5EF4-FFF2-40B4-BE49-F238E27FC236}">
                  <a16:creationId xmlns:a16="http://schemas.microsoft.com/office/drawing/2014/main" id="{51781B7F-5616-415D-B826-A2DBE6904BE6}"/>
                </a:ext>
              </a:extLst>
            </p:cNvPr>
            <p:cNvSpPr/>
            <p:nvPr userDrawn="1"/>
          </p:nvSpPr>
          <p:spPr bwMode="auto">
            <a:xfrm>
              <a:off x="6783417" y="2667325"/>
              <a:ext cx="106973" cy="255090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30" name="íšḷiḑe">
              <a:extLst>
                <a:ext uri="{FF2B5EF4-FFF2-40B4-BE49-F238E27FC236}">
                  <a16:creationId xmlns:a16="http://schemas.microsoft.com/office/drawing/2014/main" id="{36D4FDD1-D4E5-4DCD-B2B0-AA38156B2677}"/>
                </a:ext>
              </a:extLst>
            </p:cNvPr>
            <p:cNvSpPr/>
            <p:nvPr userDrawn="1"/>
          </p:nvSpPr>
          <p:spPr bwMode="auto">
            <a:xfrm>
              <a:off x="8944269" y="1284906"/>
              <a:ext cx="1456477" cy="1454831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31" name="îṩ1iḑé">
              <a:extLst>
                <a:ext uri="{FF2B5EF4-FFF2-40B4-BE49-F238E27FC236}">
                  <a16:creationId xmlns:a16="http://schemas.microsoft.com/office/drawing/2014/main" id="{EB56D6B5-B21E-4122-A4AE-60BD6B59BB85}"/>
                </a:ext>
              </a:extLst>
            </p:cNvPr>
            <p:cNvSpPr/>
            <p:nvPr userDrawn="1"/>
          </p:nvSpPr>
          <p:spPr bwMode="auto">
            <a:xfrm>
              <a:off x="10476450" y="1681529"/>
              <a:ext cx="641837" cy="641837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32" name="ïṧ1îďê">
              <a:extLst>
                <a:ext uri="{FF2B5EF4-FFF2-40B4-BE49-F238E27FC236}">
                  <a16:creationId xmlns:a16="http://schemas.microsoft.com/office/drawing/2014/main" id="{980274B5-FEE3-4ADA-B6E6-89346A994BEF}"/>
                </a:ext>
              </a:extLst>
            </p:cNvPr>
            <p:cNvSpPr/>
            <p:nvPr userDrawn="1"/>
          </p:nvSpPr>
          <p:spPr bwMode="auto">
            <a:xfrm>
              <a:off x="8132921" y="893221"/>
              <a:ext cx="947944" cy="944653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33" name="íşlïďê">
              <a:extLst>
                <a:ext uri="{FF2B5EF4-FFF2-40B4-BE49-F238E27FC236}">
                  <a16:creationId xmlns:a16="http://schemas.microsoft.com/office/drawing/2014/main" id="{85DB3A15-AB74-4EC4-89E1-54F8EC958C30}"/>
                </a:ext>
              </a:extLst>
            </p:cNvPr>
            <p:cNvSpPr/>
            <p:nvPr userDrawn="1"/>
          </p:nvSpPr>
          <p:spPr bwMode="auto">
            <a:xfrm>
              <a:off x="5889782" y="4192923"/>
              <a:ext cx="5045828" cy="130014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34" name="íśḷïdè">
              <a:extLst>
                <a:ext uri="{FF2B5EF4-FFF2-40B4-BE49-F238E27FC236}">
                  <a16:creationId xmlns:a16="http://schemas.microsoft.com/office/drawing/2014/main" id="{DF070FDD-3B3F-42A2-9C90-11DE14A3DA5C}"/>
                </a:ext>
              </a:extLst>
            </p:cNvPr>
            <p:cNvSpPr/>
            <p:nvPr userDrawn="1"/>
          </p:nvSpPr>
          <p:spPr bwMode="auto">
            <a:xfrm>
              <a:off x="5893073" y="4285085"/>
              <a:ext cx="5037600" cy="37852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35" name="îṥlïḋê">
              <a:extLst>
                <a:ext uri="{FF2B5EF4-FFF2-40B4-BE49-F238E27FC236}">
                  <a16:creationId xmlns:a16="http://schemas.microsoft.com/office/drawing/2014/main" id="{5AA64555-A021-4CA7-A924-45D5A726CC58}"/>
                </a:ext>
              </a:extLst>
            </p:cNvPr>
            <p:cNvSpPr/>
            <p:nvPr userDrawn="1"/>
          </p:nvSpPr>
          <p:spPr bwMode="auto">
            <a:xfrm>
              <a:off x="7403859" y="4123802"/>
              <a:ext cx="1823476" cy="69121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36" name="îṣľíḑê">
              <a:extLst>
                <a:ext uri="{FF2B5EF4-FFF2-40B4-BE49-F238E27FC236}">
                  <a16:creationId xmlns:a16="http://schemas.microsoft.com/office/drawing/2014/main" id="{6FB22006-4AD4-4B3C-8AE3-96A4C69E8CA9}"/>
                </a:ext>
              </a:extLst>
            </p:cNvPr>
            <p:cNvSpPr/>
            <p:nvPr userDrawn="1"/>
          </p:nvSpPr>
          <p:spPr bwMode="auto">
            <a:xfrm>
              <a:off x="7589828" y="4123802"/>
              <a:ext cx="1823476" cy="69121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37" name="iṩ1idè">
              <a:extLst>
                <a:ext uri="{FF2B5EF4-FFF2-40B4-BE49-F238E27FC236}">
                  <a16:creationId xmlns:a16="http://schemas.microsoft.com/office/drawing/2014/main" id="{14D09A72-7FDC-4DF1-9BB5-DD2BDB039053}"/>
                </a:ext>
              </a:extLst>
            </p:cNvPr>
            <p:cNvSpPr/>
            <p:nvPr userDrawn="1"/>
          </p:nvSpPr>
          <p:spPr bwMode="auto">
            <a:xfrm>
              <a:off x="6956219" y="1877371"/>
              <a:ext cx="2927766" cy="1826768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3E47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39" name="ïŝḻïḓè">
              <a:extLst>
                <a:ext uri="{FF2B5EF4-FFF2-40B4-BE49-F238E27FC236}">
                  <a16:creationId xmlns:a16="http://schemas.microsoft.com/office/drawing/2014/main" id="{C3DB54A8-9D12-4E09-8326-69DA8BA64F54}"/>
                </a:ext>
              </a:extLst>
            </p:cNvPr>
            <p:cNvSpPr/>
            <p:nvPr userDrawn="1"/>
          </p:nvSpPr>
          <p:spPr bwMode="auto">
            <a:xfrm>
              <a:off x="6956219" y="1877371"/>
              <a:ext cx="2927766" cy="190905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40" name="íṧľîḑe">
              <a:extLst>
                <a:ext uri="{FF2B5EF4-FFF2-40B4-BE49-F238E27FC236}">
                  <a16:creationId xmlns:a16="http://schemas.microsoft.com/office/drawing/2014/main" id="{D06E1C7D-10B1-46DD-8837-D0D9ED23AF29}"/>
                </a:ext>
              </a:extLst>
            </p:cNvPr>
            <p:cNvSpPr/>
            <p:nvPr userDrawn="1"/>
          </p:nvSpPr>
          <p:spPr bwMode="auto">
            <a:xfrm>
              <a:off x="8649682" y="2815441"/>
              <a:ext cx="404851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41" name="ísļídè">
              <a:extLst>
                <a:ext uri="{FF2B5EF4-FFF2-40B4-BE49-F238E27FC236}">
                  <a16:creationId xmlns:a16="http://schemas.microsoft.com/office/drawing/2014/main" id="{540BD6BA-B67B-4C03-9BC3-ED00C075C9EF}"/>
                </a:ext>
              </a:extLst>
            </p:cNvPr>
            <p:cNvSpPr/>
            <p:nvPr userDrawn="1"/>
          </p:nvSpPr>
          <p:spPr bwMode="auto">
            <a:xfrm>
              <a:off x="8649682" y="2948746"/>
              <a:ext cx="503595" cy="69121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42" name="îSlíḑè">
              <a:extLst>
                <a:ext uri="{FF2B5EF4-FFF2-40B4-BE49-F238E27FC236}">
                  <a16:creationId xmlns:a16="http://schemas.microsoft.com/office/drawing/2014/main" id="{48D2C1FF-CA7F-4364-ACA8-E86E9C4A2FB9}"/>
                </a:ext>
              </a:extLst>
            </p:cNvPr>
            <p:cNvSpPr/>
            <p:nvPr userDrawn="1"/>
          </p:nvSpPr>
          <p:spPr bwMode="auto">
            <a:xfrm>
              <a:off x="9204295" y="2948746"/>
              <a:ext cx="24850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43" name="ïslíďê">
              <a:extLst>
                <a:ext uri="{FF2B5EF4-FFF2-40B4-BE49-F238E27FC236}">
                  <a16:creationId xmlns:a16="http://schemas.microsoft.com/office/drawing/2014/main" id="{ABB148EF-2A54-4095-9A91-5040573014B5}"/>
                </a:ext>
              </a:extLst>
            </p:cNvPr>
            <p:cNvSpPr/>
            <p:nvPr userDrawn="1"/>
          </p:nvSpPr>
          <p:spPr bwMode="auto">
            <a:xfrm>
              <a:off x="8649682" y="3082051"/>
              <a:ext cx="199135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44" name="íṥļïďé">
              <a:extLst>
                <a:ext uri="{FF2B5EF4-FFF2-40B4-BE49-F238E27FC236}">
                  <a16:creationId xmlns:a16="http://schemas.microsoft.com/office/drawing/2014/main" id="{873428B1-5B23-4769-A0A3-FD01B2E619AC}"/>
                </a:ext>
              </a:extLst>
            </p:cNvPr>
            <p:cNvSpPr/>
            <p:nvPr userDrawn="1"/>
          </p:nvSpPr>
          <p:spPr bwMode="auto">
            <a:xfrm>
              <a:off x="8916292" y="3082051"/>
              <a:ext cx="742228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45" name="ïṧḻiďê">
              <a:extLst>
                <a:ext uri="{FF2B5EF4-FFF2-40B4-BE49-F238E27FC236}">
                  <a16:creationId xmlns:a16="http://schemas.microsoft.com/office/drawing/2014/main" id="{EB0837A3-A486-4C63-99EC-8F080016F569}"/>
                </a:ext>
              </a:extLst>
            </p:cNvPr>
            <p:cNvSpPr/>
            <p:nvPr userDrawn="1"/>
          </p:nvSpPr>
          <p:spPr bwMode="auto">
            <a:xfrm>
              <a:off x="8916292" y="3082051"/>
              <a:ext cx="742228" cy="691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46" name="îṩḻiḓê">
              <a:extLst>
                <a:ext uri="{FF2B5EF4-FFF2-40B4-BE49-F238E27FC236}">
                  <a16:creationId xmlns:a16="http://schemas.microsoft.com/office/drawing/2014/main" id="{406BF31B-9AB2-44E3-9C34-ECFB97EF68DF}"/>
                </a:ext>
              </a:extLst>
            </p:cNvPr>
            <p:cNvSpPr/>
            <p:nvPr userDrawn="1"/>
          </p:nvSpPr>
          <p:spPr bwMode="auto">
            <a:xfrm>
              <a:off x="9146695" y="2815441"/>
              <a:ext cx="232049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47" name="îŝ1îḍê">
              <a:extLst>
                <a:ext uri="{FF2B5EF4-FFF2-40B4-BE49-F238E27FC236}">
                  <a16:creationId xmlns:a16="http://schemas.microsoft.com/office/drawing/2014/main" id="{2A055191-2855-4659-8E24-A69CF63CC376}"/>
                </a:ext>
              </a:extLst>
            </p:cNvPr>
            <p:cNvSpPr/>
            <p:nvPr userDrawn="1"/>
          </p:nvSpPr>
          <p:spPr bwMode="auto">
            <a:xfrm>
              <a:off x="8649682" y="2185125"/>
              <a:ext cx="404851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48" name="iṩ1îďé">
              <a:extLst>
                <a:ext uri="{FF2B5EF4-FFF2-40B4-BE49-F238E27FC236}">
                  <a16:creationId xmlns:a16="http://schemas.microsoft.com/office/drawing/2014/main" id="{48CEF17B-25F9-497F-A827-D0119AD60755}"/>
                </a:ext>
              </a:extLst>
            </p:cNvPr>
            <p:cNvSpPr/>
            <p:nvPr userDrawn="1"/>
          </p:nvSpPr>
          <p:spPr bwMode="auto">
            <a:xfrm>
              <a:off x="8649682" y="2320075"/>
              <a:ext cx="503595" cy="67476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49" name="iSḻíḍe">
              <a:extLst>
                <a:ext uri="{FF2B5EF4-FFF2-40B4-BE49-F238E27FC236}">
                  <a16:creationId xmlns:a16="http://schemas.microsoft.com/office/drawing/2014/main" id="{F225C5E7-7304-4C79-BFAE-2F8B07F08B2D}"/>
                </a:ext>
              </a:extLst>
            </p:cNvPr>
            <p:cNvSpPr/>
            <p:nvPr userDrawn="1"/>
          </p:nvSpPr>
          <p:spPr bwMode="auto">
            <a:xfrm>
              <a:off x="9204295" y="2320075"/>
              <a:ext cx="248507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50" name="íṥ1iḍè">
              <a:extLst>
                <a:ext uri="{FF2B5EF4-FFF2-40B4-BE49-F238E27FC236}">
                  <a16:creationId xmlns:a16="http://schemas.microsoft.com/office/drawing/2014/main" id="{200E071C-D07C-40C7-8E35-2466C97BE710}"/>
                </a:ext>
              </a:extLst>
            </p:cNvPr>
            <p:cNvSpPr/>
            <p:nvPr userDrawn="1"/>
          </p:nvSpPr>
          <p:spPr bwMode="auto">
            <a:xfrm>
              <a:off x="8649682" y="2453379"/>
              <a:ext cx="199135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51" name="íṡ1íḓe">
              <a:extLst>
                <a:ext uri="{FF2B5EF4-FFF2-40B4-BE49-F238E27FC236}">
                  <a16:creationId xmlns:a16="http://schemas.microsoft.com/office/drawing/2014/main" id="{BE25401D-960A-4B1C-B168-DBFF07FF2D3A}"/>
                </a:ext>
              </a:extLst>
            </p:cNvPr>
            <p:cNvSpPr/>
            <p:nvPr userDrawn="1"/>
          </p:nvSpPr>
          <p:spPr bwMode="auto">
            <a:xfrm>
              <a:off x="8916292" y="2453379"/>
              <a:ext cx="742228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52" name="íŝľíḑe">
              <a:extLst>
                <a:ext uri="{FF2B5EF4-FFF2-40B4-BE49-F238E27FC236}">
                  <a16:creationId xmlns:a16="http://schemas.microsoft.com/office/drawing/2014/main" id="{C5B4C4D9-139F-4D4F-94BF-58A605B41A48}"/>
                </a:ext>
              </a:extLst>
            </p:cNvPr>
            <p:cNvSpPr/>
            <p:nvPr userDrawn="1"/>
          </p:nvSpPr>
          <p:spPr bwMode="auto">
            <a:xfrm>
              <a:off x="9146695" y="2185125"/>
              <a:ext cx="232049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53" name="ïṥ1îḓè">
              <a:extLst>
                <a:ext uri="{FF2B5EF4-FFF2-40B4-BE49-F238E27FC236}">
                  <a16:creationId xmlns:a16="http://schemas.microsoft.com/office/drawing/2014/main" id="{45897B7C-5CF3-4D23-B816-3B2A57853241}"/>
                </a:ext>
              </a:extLst>
            </p:cNvPr>
            <p:cNvSpPr/>
            <p:nvPr userDrawn="1"/>
          </p:nvSpPr>
          <p:spPr bwMode="auto">
            <a:xfrm>
              <a:off x="7280430" y="2815441"/>
              <a:ext cx="40649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54" name="íṡḷidê">
              <a:extLst>
                <a:ext uri="{FF2B5EF4-FFF2-40B4-BE49-F238E27FC236}">
                  <a16:creationId xmlns:a16="http://schemas.microsoft.com/office/drawing/2014/main" id="{A916F33C-EA89-49B2-A647-F1E9D5793283}"/>
                </a:ext>
              </a:extLst>
            </p:cNvPr>
            <p:cNvSpPr/>
            <p:nvPr userDrawn="1"/>
          </p:nvSpPr>
          <p:spPr bwMode="auto">
            <a:xfrm>
              <a:off x="7280430" y="2948746"/>
              <a:ext cx="501950" cy="69121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55" name="ïSḻïḑe">
              <a:extLst>
                <a:ext uri="{FF2B5EF4-FFF2-40B4-BE49-F238E27FC236}">
                  <a16:creationId xmlns:a16="http://schemas.microsoft.com/office/drawing/2014/main" id="{40732D72-1904-41BF-967A-052BF1D55673}"/>
                </a:ext>
              </a:extLst>
            </p:cNvPr>
            <p:cNvSpPr/>
            <p:nvPr userDrawn="1"/>
          </p:nvSpPr>
          <p:spPr bwMode="auto">
            <a:xfrm>
              <a:off x="7835042" y="2948746"/>
              <a:ext cx="24850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56" name="ïŝlîḋe">
              <a:extLst>
                <a:ext uri="{FF2B5EF4-FFF2-40B4-BE49-F238E27FC236}">
                  <a16:creationId xmlns:a16="http://schemas.microsoft.com/office/drawing/2014/main" id="{03A6DF9F-0C46-4097-893F-268FE8AC6CE9}"/>
                </a:ext>
              </a:extLst>
            </p:cNvPr>
            <p:cNvSpPr/>
            <p:nvPr userDrawn="1"/>
          </p:nvSpPr>
          <p:spPr bwMode="auto">
            <a:xfrm>
              <a:off x="7280430" y="3082051"/>
              <a:ext cx="199135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57" name="ïṣḷidè">
              <a:extLst>
                <a:ext uri="{FF2B5EF4-FFF2-40B4-BE49-F238E27FC236}">
                  <a16:creationId xmlns:a16="http://schemas.microsoft.com/office/drawing/2014/main" id="{8E5AE3FF-52EE-43D9-8424-2990E578D4D6}"/>
                </a:ext>
              </a:extLst>
            </p:cNvPr>
            <p:cNvSpPr/>
            <p:nvPr userDrawn="1"/>
          </p:nvSpPr>
          <p:spPr bwMode="auto">
            <a:xfrm>
              <a:off x="7548684" y="3082051"/>
              <a:ext cx="737290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58" name="íṧľîḓê">
              <a:extLst>
                <a:ext uri="{FF2B5EF4-FFF2-40B4-BE49-F238E27FC236}">
                  <a16:creationId xmlns:a16="http://schemas.microsoft.com/office/drawing/2014/main" id="{B7C6134D-3669-40C7-90EF-C583EF46ACA0}"/>
                </a:ext>
              </a:extLst>
            </p:cNvPr>
            <p:cNvSpPr/>
            <p:nvPr userDrawn="1"/>
          </p:nvSpPr>
          <p:spPr bwMode="auto">
            <a:xfrm>
              <a:off x="7777442" y="2815441"/>
              <a:ext cx="233695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59" name="ïšḷîḓe">
              <a:extLst>
                <a:ext uri="{FF2B5EF4-FFF2-40B4-BE49-F238E27FC236}">
                  <a16:creationId xmlns:a16="http://schemas.microsoft.com/office/drawing/2014/main" id="{EB0E05C4-9AAA-4268-AE57-D0A5C45F17E5}"/>
                </a:ext>
              </a:extLst>
            </p:cNvPr>
            <p:cNvSpPr/>
            <p:nvPr userDrawn="1"/>
          </p:nvSpPr>
          <p:spPr bwMode="auto">
            <a:xfrm>
              <a:off x="7280430" y="2185125"/>
              <a:ext cx="40649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60" name="îśliḍé">
              <a:extLst>
                <a:ext uri="{FF2B5EF4-FFF2-40B4-BE49-F238E27FC236}">
                  <a16:creationId xmlns:a16="http://schemas.microsoft.com/office/drawing/2014/main" id="{452F5EF2-338C-4F52-A8F8-A30DD2745932}"/>
                </a:ext>
              </a:extLst>
            </p:cNvPr>
            <p:cNvSpPr/>
            <p:nvPr userDrawn="1"/>
          </p:nvSpPr>
          <p:spPr bwMode="auto">
            <a:xfrm>
              <a:off x="7280430" y="2320075"/>
              <a:ext cx="501950" cy="67476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61" name="iṥ1iḍê">
              <a:extLst>
                <a:ext uri="{FF2B5EF4-FFF2-40B4-BE49-F238E27FC236}">
                  <a16:creationId xmlns:a16="http://schemas.microsoft.com/office/drawing/2014/main" id="{8EE38444-E3C8-4A2C-8CE9-D938B1A49990}"/>
                </a:ext>
              </a:extLst>
            </p:cNvPr>
            <p:cNvSpPr/>
            <p:nvPr userDrawn="1"/>
          </p:nvSpPr>
          <p:spPr bwMode="auto">
            <a:xfrm>
              <a:off x="7835042" y="2320075"/>
              <a:ext cx="248507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62" name="ïSlïḑe">
              <a:extLst>
                <a:ext uri="{FF2B5EF4-FFF2-40B4-BE49-F238E27FC236}">
                  <a16:creationId xmlns:a16="http://schemas.microsoft.com/office/drawing/2014/main" id="{B672D154-68A6-4442-AF47-A18575FB19D8}"/>
                </a:ext>
              </a:extLst>
            </p:cNvPr>
            <p:cNvSpPr/>
            <p:nvPr userDrawn="1"/>
          </p:nvSpPr>
          <p:spPr bwMode="auto">
            <a:xfrm>
              <a:off x="7280430" y="2453379"/>
              <a:ext cx="199135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63" name="ïśľîďe">
              <a:extLst>
                <a:ext uri="{FF2B5EF4-FFF2-40B4-BE49-F238E27FC236}">
                  <a16:creationId xmlns:a16="http://schemas.microsoft.com/office/drawing/2014/main" id="{ADAF3EE8-D7DE-489F-B071-21F62183CA87}"/>
                </a:ext>
              </a:extLst>
            </p:cNvPr>
            <p:cNvSpPr/>
            <p:nvPr userDrawn="1"/>
          </p:nvSpPr>
          <p:spPr bwMode="auto">
            <a:xfrm>
              <a:off x="7548684" y="2453379"/>
              <a:ext cx="737290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64" name="îṡľiďé">
              <a:extLst>
                <a:ext uri="{FF2B5EF4-FFF2-40B4-BE49-F238E27FC236}">
                  <a16:creationId xmlns:a16="http://schemas.microsoft.com/office/drawing/2014/main" id="{A52F0A3B-06FE-469A-8377-CC27084C8BED}"/>
                </a:ext>
              </a:extLst>
            </p:cNvPr>
            <p:cNvSpPr/>
            <p:nvPr userDrawn="1"/>
          </p:nvSpPr>
          <p:spPr bwMode="auto">
            <a:xfrm>
              <a:off x="7777442" y="2185125"/>
              <a:ext cx="233695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65" name="ís1iḋê">
              <a:extLst>
                <a:ext uri="{FF2B5EF4-FFF2-40B4-BE49-F238E27FC236}">
                  <a16:creationId xmlns:a16="http://schemas.microsoft.com/office/drawing/2014/main" id="{D57A5B1F-346A-4492-9CC0-4255B170E7E6}"/>
                </a:ext>
              </a:extLst>
            </p:cNvPr>
            <p:cNvSpPr/>
            <p:nvPr userDrawn="1"/>
          </p:nvSpPr>
          <p:spPr bwMode="auto">
            <a:xfrm>
              <a:off x="6890390" y="1816480"/>
              <a:ext cx="3054487" cy="1948552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67" name="iSľíḑé">
              <a:extLst>
                <a:ext uri="{FF2B5EF4-FFF2-40B4-BE49-F238E27FC236}">
                  <a16:creationId xmlns:a16="http://schemas.microsoft.com/office/drawing/2014/main" id="{38B1ACC9-D7E8-4AF2-B7EE-99DF6094FC5A}"/>
                </a:ext>
              </a:extLst>
            </p:cNvPr>
            <p:cNvSpPr/>
            <p:nvPr userDrawn="1"/>
          </p:nvSpPr>
          <p:spPr bwMode="auto">
            <a:xfrm>
              <a:off x="9424824" y="3142943"/>
              <a:ext cx="106973" cy="8229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68" name="îslîďè">
              <a:extLst>
                <a:ext uri="{FF2B5EF4-FFF2-40B4-BE49-F238E27FC236}">
                  <a16:creationId xmlns:a16="http://schemas.microsoft.com/office/drawing/2014/main" id="{DC52AEDF-331F-417B-91C2-5647FB3772C0}"/>
                </a:ext>
              </a:extLst>
            </p:cNvPr>
            <p:cNvSpPr/>
            <p:nvPr userDrawn="1"/>
          </p:nvSpPr>
          <p:spPr bwMode="auto">
            <a:xfrm>
              <a:off x="9268479" y="3371700"/>
              <a:ext cx="653358" cy="386749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69" name="îSľiḑe">
              <a:extLst>
                <a:ext uri="{FF2B5EF4-FFF2-40B4-BE49-F238E27FC236}">
                  <a16:creationId xmlns:a16="http://schemas.microsoft.com/office/drawing/2014/main" id="{3F70D03F-0E09-490C-95E8-11A4013CB827}"/>
                </a:ext>
              </a:extLst>
            </p:cNvPr>
            <p:cNvSpPr/>
            <p:nvPr userDrawn="1"/>
          </p:nvSpPr>
          <p:spPr bwMode="auto">
            <a:xfrm>
              <a:off x="7017112" y="1906995"/>
              <a:ext cx="2805981" cy="115202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70" name="íSļíḓè">
              <a:extLst>
                <a:ext uri="{FF2B5EF4-FFF2-40B4-BE49-F238E27FC236}">
                  <a16:creationId xmlns:a16="http://schemas.microsoft.com/office/drawing/2014/main" id="{47E22736-BFE4-440D-975A-C20257A3F918}"/>
                </a:ext>
              </a:extLst>
            </p:cNvPr>
            <p:cNvSpPr/>
            <p:nvPr userDrawn="1"/>
          </p:nvSpPr>
          <p:spPr bwMode="auto">
            <a:xfrm>
              <a:off x="6890390" y="3532982"/>
              <a:ext cx="3054487" cy="232049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71" name="ïṧḻídé">
              <a:extLst>
                <a:ext uri="{FF2B5EF4-FFF2-40B4-BE49-F238E27FC236}">
                  <a16:creationId xmlns:a16="http://schemas.microsoft.com/office/drawing/2014/main" id="{1E2D50C2-413C-4015-B222-2A29038F76B0}"/>
                </a:ext>
              </a:extLst>
            </p:cNvPr>
            <p:cNvSpPr/>
            <p:nvPr userDrawn="1"/>
          </p:nvSpPr>
          <p:spPr bwMode="auto">
            <a:xfrm>
              <a:off x="9627250" y="1976116"/>
              <a:ext cx="62538" cy="60893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72" name="iṧlïḋê">
              <a:extLst>
                <a:ext uri="{FF2B5EF4-FFF2-40B4-BE49-F238E27FC236}">
                  <a16:creationId xmlns:a16="http://schemas.microsoft.com/office/drawing/2014/main" id="{4C7A2F1F-B975-468D-93B1-704F7B7AEDA6}"/>
                </a:ext>
              </a:extLst>
            </p:cNvPr>
            <p:cNvSpPr/>
            <p:nvPr userDrawn="1"/>
          </p:nvSpPr>
          <p:spPr bwMode="auto">
            <a:xfrm>
              <a:off x="9520276" y="1976116"/>
              <a:ext cx="62538" cy="6089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73" name="ïSḷîḍê">
              <a:extLst>
                <a:ext uri="{FF2B5EF4-FFF2-40B4-BE49-F238E27FC236}">
                  <a16:creationId xmlns:a16="http://schemas.microsoft.com/office/drawing/2014/main" id="{7C0A5E28-BECA-42F0-ABAA-726549D61AFD}"/>
                </a:ext>
              </a:extLst>
            </p:cNvPr>
            <p:cNvSpPr/>
            <p:nvPr userDrawn="1"/>
          </p:nvSpPr>
          <p:spPr bwMode="auto">
            <a:xfrm>
              <a:off x="9413304" y="1976116"/>
              <a:ext cx="62538" cy="60893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74" name="íşlîḍe">
              <a:extLst>
                <a:ext uri="{FF2B5EF4-FFF2-40B4-BE49-F238E27FC236}">
                  <a16:creationId xmlns:a16="http://schemas.microsoft.com/office/drawing/2014/main" id="{1A89977D-8D6E-419C-B458-1008D447951A}"/>
                </a:ext>
              </a:extLst>
            </p:cNvPr>
            <p:cNvSpPr/>
            <p:nvPr userDrawn="1"/>
          </p:nvSpPr>
          <p:spPr bwMode="auto">
            <a:xfrm>
              <a:off x="6696193" y="2598204"/>
              <a:ext cx="768559" cy="1594719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75" name="îṧliḓe">
              <a:extLst>
                <a:ext uri="{FF2B5EF4-FFF2-40B4-BE49-F238E27FC236}">
                  <a16:creationId xmlns:a16="http://schemas.microsoft.com/office/drawing/2014/main" id="{854CA286-7FF2-442C-8399-AC07CD799772}"/>
                </a:ext>
              </a:extLst>
            </p:cNvPr>
            <p:cNvSpPr/>
            <p:nvPr userDrawn="1"/>
          </p:nvSpPr>
          <p:spPr bwMode="auto">
            <a:xfrm>
              <a:off x="6806458" y="2876334"/>
              <a:ext cx="473972" cy="98744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76" name="ïšľïḍê">
              <a:extLst>
                <a:ext uri="{FF2B5EF4-FFF2-40B4-BE49-F238E27FC236}">
                  <a16:creationId xmlns:a16="http://schemas.microsoft.com/office/drawing/2014/main" id="{FA9B1DE8-7D4C-47AB-BD10-9F427F3643EB}"/>
                </a:ext>
              </a:extLst>
            </p:cNvPr>
            <p:cNvSpPr/>
            <p:nvPr userDrawn="1"/>
          </p:nvSpPr>
          <p:spPr bwMode="auto">
            <a:xfrm>
              <a:off x="6676444" y="3226875"/>
              <a:ext cx="470681" cy="10039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77" name="ïṡ1îḍe">
              <a:extLst>
                <a:ext uri="{FF2B5EF4-FFF2-40B4-BE49-F238E27FC236}">
                  <a16:creationId xmlns:a16="http://schemas.microsoft.com/office/drawing/2014/main" id="{2093210A-1156-45DB-BB4C-0DCE7AD0D875}"/>
                </a:ext>
              </a:extLst>
            </p:cNvPr>
            <p:cNvSpPr/>
            <p:nvPr userDrawn="1"/>
          </p:nvSpPr>
          <p:spPr bwMode="auto">
            <a:xfrm>
              <a:off x="6523391" y="3579063"/>
              <a:ext cx="482201" cy="98744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78" name="iṧḷídè">
              <a:extLst>
                <a:ext uri="{FF2B5EF4-FFF2-40B4-BE49-F238E27FC236}">
                  <a16:creationId xmlns:a16="http://schemas.microsoft.com/office/drawing/2014/main" id="{85B7D714-828A-4436-9722-8E585221469D}"/>
                </a:ext>
              </a:extLst>
            </p:cNvPr>
            <p:cNvSpPr/>
            <p:nvPr userDrawn="1"/>
          </p:nvSpPr>
          <p:spPr bwMode="auto">
            <a:xfrm>
              <a:off x="6383503" y="3929605"/>
              <a:ext cx="465744" cy="98744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79" name="íṥļïďê">
              <a:extLst>
                <a:ext uri="{FF2B5EF4-FFF2-40B4-BE49-F238E27FC236}">
                  <a16:creationId xmlns:a16="http://schemas.microsoft.com/office/drawing/2014/main" id="{87784FA9-5DAB-4CEA-92C6-1DFE9C3657A7}"/>
                </a:ext>
              </a:extLst>
            </p:cNvPr>
            <p:cNvSpPr/>
            <p:nvPr userDrawn="1"/>
          </p:nvSpPr>
          <p:spPr bwMode="auto">
            <a:xfrm>
              <a:off x="9329371" y="2991536"/>
              <a:ext cx="952882" cy="1212908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80" name="iṡlîḑe">
              <a:extLst>
                <a:ext uri="{FF2B5EF4-FFF2-40B4-BE49-F238E27FC236}">
                  <a16:creationId xmlns:a16="http://schemas.microsoft.com/office/drawing/2014/main" id="{A1169987-8B8D-4BC8-92F5-645725EAC551}"/>
                </a:ext>
              </a:extLst>
            </p:cNvPr>
            <p:cNvSpPr/>
            <p:nvPr userDrawn="1"/>
          </p:nvSpPr>
          <p:spPr bwMode="auto">
            <a:xfrm>
              <a:off x="9666748" y="3391449"/>
              <a:ext cx="534865" cy="717541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83" name="îšļiḍé">
              <a:extLst>
                <a:ext uri="{FF2B5EF4-FFF2-40B4-BE49-F238E27FC236}">
                  <a16:creationId xmlns:a16="http://schemas.microsoft.com/office/drawing/2014/main" id="{E94F843E-1931-4CF4-A07C-516069F6EB04}"/>
                </a:ext>
              </a:extLst>
            </p:cNvPr>
            <p:cNvSpPr/>
            <p:nvPr userDrawn="1"/>
          </p:nvSpPr>
          <p:spPr bwMode="auto">
            <a:xfrm>
              <a:off x="8401176" y="4421680"/>
              <a:ext cx="783371" cy="1267217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84" name="í$ḷïḑe">
              <a:extLst>
                <a:ext uri="{FF2B5EF4-FFF2-40B4-BE49-F238E27FC236}">
                  <a16:creationId xmlns:a16="http://schemas.microsoft.com/office/drawing/2014/main" id="{C29BEDA5-B06B-4D27-B037-F5AED5D1574B}"/>
                </a:ext>
              </a:extLst>
            </p:cNvPr>
            <p:cNvSpPr/>
            <p:nvPr userDrawn="1"/>
          </p:nvSpPr>
          <p:spPr bwMode="auto">
            <a:xfrm>
              <a:off x="8661202" y="5688897"/>
              <a:ext cx="492076" cy="190905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85" name="ís1îḓe">
              <a:extLst>
                <a:ext uri="{FF2B5EF4-FFF2-40B4-BE49-F238E27FC236}">
                  <a16:creationId xmlns:a16="http://schemas.microsoft.com/office/drawing/2014/main" id="{3082BE92-7275-4477-8E76-3714C3FF5443}"/>
                </a:ext>
              </a:extLst>
            </p:cNvPr>
            <p:cNvSpPr/>
            <p:nvPr userDrawn="1"/>
          </p:nvSpPr>
          <p:spPr bwMode="auto">
            <a:xfrm>
              <a:off x="7644137" y="4421680"/>
              <a:ext cx="783371" cy="1267217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88" name="ïṥļîdê">
              <a:extLst>
                <a:ext uri="{FF2B5EF4-FFF2-40B4-BE49-F238E27FC236}">
                  <a16:creationId xmlns:a16="http://schemas.microsoft.com/office/drawing/2014/main" id="{6509C9E9-F0A5-41D8-A60B-B1D7CCE406EF}"/>
                </a:ext>
              </a:extLst>
            </p:cNvPr>
            <p:cNvSpPr/>
            <p:nvPr userDrawn="1"/>
          </p:nvSpPr>
          <p:spPr bwMode="auto">
            <a:xfrm>
              <a:off x="7935433" y="2711760"/>
              <a:ext cx="197488" cy="294587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89" name="isḻîḋè">
              <a:extLst>
                <a:ext uri="{FF2B5EF4-FFF2-40B4-BE49-F238E27FC236}">
                  <a16:creationId xmlns:a16="http://schemas.microsoft.com/office/drawing/2014/main" id="{BCAD022A-2BB4-472F-A840-23B522639385}"/>
                </a:ext>
              </a:extLst>
            </p:cNvPr>
            <p:cNvSpPr/>
            <p:nvPr userDrawn="1"/>
          </p:nvSpPr>
          <p:spPr bwMode="auto">
            <a:xfrm>
              <a:off x="7979867" y="2784173"/>
              <a:ext cx="153054" cy="184322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90" name="íṥľïḓê">
              <a:extLst>
                <a:ext uri="{FF2B5EF4-FFF2-40B4-BE49-F238E27FC236}">
                  <a16:creationId xmlns:a16="http://schemas.microsoft.com/office/drawing/2014/main" id="{84E11F03-65D2-472A-B806-EC31231E8560}"/>
                </a:ext>
              </a:extLst>
            </p:cNvPr>
            <p:cNvSpPr/>
            <p:nvPr userDrawn="1"/>
          </p:nvSpPr>
          <p:spPr bwMode="auto">
            <a:xfrm>
              <a:off x="8011137" y="2789109"/>
              <a:ext cx="121784" cy="83933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91" name="íş1íḋê">
              <a:extLst>
                <a:ext uri="{FF2B5EF4-FFF2-40B4-BE49-F238E27FC236}">
                  <a16:creationId xmlns:a16="http://schemas.microsoft.com/office/drawing/2014/main" id="{265B95A3-5F30-4FC2-A4A7-9F23121DA964}"/>
                </a:ext>
              </a:extLst>
            </p:cNvPr>
            <p:cNvSpPr/>
            <p:nvPr userDrawn="1"/>
          </p:nvSpPr>
          <p:spPr bwMode="auto">
            <a:xfrm>
              <a:off x="8748427" y="2780881"/>
              <a:ext cx="222175" cy="297879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92" name="íṧḷíďè">
              <a:extLst>
                <a:ext uri="{FF2B5EF4-FFF2-40B4-BE49-F238E27FC236}">
                  <a16:creationId xmlns:a16="http://schemas.microsoft.com/office/drawing/2014/main" id="{7EB307C2-66A6-448A-8EF2-887D4820030E}"/>
                </a:ext>
              </a:extLst>
            </p:cNvPr>
            <p:cNvSpPr/>
            <p:nvPr userDrawn="1"/>
          </p:nvSpPr>
          <p:spPr bwMode="auto">
            <a:xfrm>
              <a:off x="8748427" y="2853294"/>
              <a:ext cx="179386" cy="182677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93" name="ïşlíďe">
              <a:extLst>
                <a:ext uri="{FF2B5EF4-FFF2-40B4-BE49-F238E27FC236}">
                  <a16:creationId xmlns:a16="http://schemas.microsoft.com/office/drawing/2014/main" id="{BCC22F31-6EDC-40F5-AA90-B5435AD95566}"/>
                </a:ext>
              </a:extLst>
            </p:cNvPr>
            <p:cNvSpPr/>
            <p:nvPr userDrawn="1"/>
          </p:nvSpPr>
          <p:spPr bwMode="auto">
            <a:xfrm>
              <a:off x="8764884" y="2861522"/>
              <a:ext cx="128367" cy="64184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94" name="íṧ1iḍé">
              <a:extLst>
                <a:ext uri="{FF2B5EF4-FFF2-40B4-BE49-F238E27FC236}">
                  <a16:creationId xmlns:a16="http://schemas.microsoft.com/office/drawing/2014/main" id="{C9504CCB-28EF-4A00-A933-5292602CF21B}"/>
                </a:ext>
              </a:extLst>
            </p:cNvPr>
            <p:cNvSpPr/>
            <p:nvPr userDrawn="1"/>
          </p:nvSpPr>
          <p:spPr bwMode="auto">
            <a:xfrm>
              <a:off x="8335346" y="3113320"/>
              <a:ext cx="187614" cy="330794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95" name="íSḷíḍé">
              <a:extLst>
                <a:ext uri="{FF2B5EF4-FFF2-40B4-BE49-F238E27FC236}">
                  <a16:creationId xmlns:a16="http://schemas.microsoft.com/office/drawing/2014/main" id="{7EACEEDA-0104-47E3-9361-C75ED4FB9243}"/>
                </a:ext>
              </a:extLst>
            </p:cNvPr>
            <p:cNvSpPr/>
            <p:nvPr userDrawn="1"/>
          </p:nvSpPr>
          <p:spPr bwMode="auto">
            <a:xfrm>
              <a:off x="8335346" y="3113320"/>
              <a:ext cx="187614" cy="330794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96" name="ï$lïďê">
              <a:extLst>
                <a:ext uri="{FF2B5EF4-FFF2-40B4-BE49-F238E27FC236}">
                  <a16:creationId xmlns:a16="http://schemas.microsoft.com/office/drawing/2014/main" id="{DDEAF4E3-2289-4F78-8E69-1051F1D900DE}"/>
                </a:ext>
              </a:extLst>
            </p:cNvPr>
            <p:cNvSpPr/>
            <p:nvPr userDrawn="1"/>
          </p:nvSpPr>
          <p:spPr bwMode="auto">
            <a:xfrm>
              <a:off x="8340284" y="3154463"/>
              <a:ext cx="182677" cy="92161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97" name="iṩlïḍe">
              <a:extLst>
                <a:ext uri="{FF2B5EF4-FFF2-40B4-BE49-F238E27FC236}">
                  <a16:creationId xmlns:a16="http://schemas.microsoft.com/office/drawing/2014/main" id="{EEB15323-3E5E-4EA2-BC14-74AA6034E31A}"/>
                </a:ext>
              </a:extLst>
            </p:cNvPr>
            <p:cNvSpPr/>
            <p:nvPr userDrawn="1"/>
          </p:nvSpPr>
          <p:spPr bwMode="auto">
            <a:xfrm>
              <a:off x="8086841" y="2441860"/>
              <a:ext cx="750456" cy="812994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98" name="iš1íḓè">
              <a:extLst>
                <a:ext uri="{FF2B5EF4-FFF2-40B4-BE49-F238E27FC236}">
                  <a16:creationId xmlns:a16="http://schemas.microsoft.com/office/drawing/2014/main" id="{FB6BD81C-6E5D-47F0-BB34-3B766D0EAEB0}"/>
                </a:ext>
              </a:extLst>
            </p:cNvPr>
            <p:cNvSpPr/>
            <p:nvPr userDrawn="1"/>
          </p:nvSpPr>
          <p:spPr bwMode="auto">
            <a:xfrm>
              <a:off x="8086841" y="2624536"/>
              <a:ext cx="4938" cy="106973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199" name="işļíḍê">
              <a:extLst>
                <a:ext uri="{FF2B5EF4-FFF2-40B4-BE49-F238E27FC236}">
                  <a16:creationId xmlns:a16="http://schemas.microsoft.com/office/drawing/2014/main" id="{7B86B38C-D93C-4170-B264-035D2D476A7A}"/>
                </a:ext>
              </a:extLst>
            </p:cNvPr>
            <p:cNvSpPr/>
            <p:nvPr userDrawn="1"/>
          </p:nvSpPr>
          <p:spPr bwMode="auto">
            <a:xfrm>
              <a:off x="7869603" y="2269057"/>
              <a:ext cx="1051626" cy="1007191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00" name="ïṡļíḋe">
              <a:extLst>
                <a:ext uri="{FF2B5EF4-FFF2-40B4-BE49-F238E27FC236}">
                  <a16:creationId xmlns:a16="http://schemas.microsoft.com/office/drawing/2014/main" id="{425DDDE3-FD47-4C2F-92D4-1BB0EEB89B81}"/>
                </a:ext>
              </a:extLst>
            </p:cNvPr>
            <p:cNvSpPr/>
            <p:nvPr userDrawn="1"/>
          </p:nvSpPr>
          <p:spPr bwMode="auto">
            <a:xfrm>
              <a:off x="7979867" y="2152210"/>
              <a:ext cx="891989" cy="743873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666666"/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01" name="işľiḍê">
              <a:extLst>
                <a:ext uri="{FF2B5EF4-FFF2-40B4-BE49-F238E27FC236}">
                  <a16:creationId xmlns:a16="http://schemas.microsoft.com/office/drawing/2014/main" id="{2C0A9916-D892-44F9-9477-D9AE1C868060}"/>
                </a:ext>
              </a:extLst>
            </p:cNvPr>
            <p:cNvSpPr/>
            <p:nvPr userDrawn="1"/>
          </p:nvSpPr>
          <p:spPr bwMode="auto">
            <a:xfrm>
              <a:off x="7705030" y="3376638"/>
              <a:ext cx="1441665" cy="812994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02" name="işḻíḍé">
              <a:extLst>
                <a:ext uri="{FF2B5EF4-FFF2-40B4-BE49-F238E27FC236}">
                  <a16:creationId xmlns:a16="http://schemas.microsoft.com/office/drawing/2014/main" id="{0B7F69A2-5EB7-4398-A300-F6473A913EE7}"/>
                </a:ext>
              </a:extLst>
            </p:cNvPr>
            <p:cNvSpPr/>
            <p:nvPr userDrawn="1"/>
          </p:nvSpPr>
          <p:spPr bwMode="auto">
            <a:xfrm>
              <a:off x="7912393" y="3460570"/>
              <a:ext cx="1038460" cy="1224428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03" name="ïṣľïḓè">
              <a:extLst>
                <a:ext uri="{FF2B5EF4-FFF2-40B4-BE49-F238E27FC236}">
                  <a16:creationId xmlns:a16="http://schemas.microsoft.com/office/drawing/2014/main" id="{B439BE05-E6B7-49C2-A9D7-8B961D72535F}"/>
                </a:ext>
              </a:extLst>
            </p:cNvPr>
            <p:cNvSpPr/>
            <p:nvPr userDrawn="1"/>
          </p:nvSpPr>
          <p:spPr bwMode="auto">
            <a:xfrm>
              <a:off x="7961765" y="3460570"/>
              <a:ext cx="939716" cy="1152016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04" name="îšlídè">
              <a:extLst>
                <a:ext uri="{FF2B5EF4-FFF2-40B4-BE49-F238E27FC236}">
                  <a16:creationId xmlns:a16="http://schemas.microsoft.com/office/drawing/2014/main" id="{2444FEFA-AD39-45C4-A6EB-228191BBD7AF}"/>
                </a:ext>
              </a:extLst>
            </p:cNvPr>
            <p:cNvSpPr/>
            <p:nvPr userDrawn="1"/>
          </p:nvSpPr>
          <p:spPr bwMode="auto">
            <a:xfrm>
              <a:off x="7945307" y="2708469"/>
              <a:ext cx="941361" cy="610569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05" name="ïṩḷídé">
              <a:extLst>
                <a:ext uri="{FF2B5EF4-FFF2-40B4-BE49-F238E27FC236}">
                  <a16:creationId xmlns:a16="http://schemas.microsoft.com/office/drawing/2014/main" id="{65B09B65-DD99-43BC-BC3A-DB9FF9F2ABFF}"/>
                </a:ext>
              </a:extLst>
            </p:cNvPr>
            <p:cNvSpPr/>
            <p:nvPr userDrawn="1"/>
          </p:nvSpPr>
          <p:spPr bwMode="auto">
            <a:xfrm>
              <a:off x="8007845" y="2731509"/>
              <a:ext cx="821223" cy="534865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06" name="íŝliḓè">
              <a:extLst>
                <a:ext uri="{FF2B5EF4-FFF2-40B4-BE49-F238E27FC236}">
                  <a16:creationId xmlns:a16="http://schemas.microsoft.com/office/drawing/2014/main" id="{48296FFD-DB04-4589-813C-2CB5475A3B01}"/>
                </a:ext>
              </a:extLst>
            </p:cNvPr>
            <p:cNvSpPr/>
            <p:nvPr userDrawn="1"/>
          </p:nvSpPr>
          <p:spPr bwMode="auto">
            <a:xfrm>
              <a:off x="7805419" y="4704747"/>
              <a:ext cx="1214553" cy="284713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07" name="ïSľíḋê">
              <a:extLst>
                <a:ext uri="{FF2B5EF4-FFF2-40B4-BE49-F238E27FC236}">
                  <a16:creationId xmlns:a16="http://schemas.microsoft.com/office/drawing/2014/main" id="{6E575278-117E-48C6-9A90-0A02E061B476}"/>
                </a:ext>
              </a:extLst>
            </p:cNvPr>
            <p:cNvSpPr/>
            <p:nvPr userDrawn="1"/>
          </p:nvSpPr>
          <p:spPr bwMode="auto">
            <a:xfrm>
              <a:off x="7945307" y="4704747"/>
              <a:ext cx="929842" cy="72412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08" name="íšļiḑê">
              <a:extLst>
                <a:ext uri="{FF2B5EF4-FFF2-40B4-BE49-F238E27FC236}">
                  <a16:creationId xmlns:a16="http://schemas.microsoft.com/office/drawing/2014/main" id="{A5B4C972-F81E-4A36-97F5-5CB45073B33B}"/>
                </a:ext>
              </a:extLst>
            </p:cNvPr>
            <p:cNvSpPr/>
            <p:nvPr userDrawn="1"/>
          </p:nvSpPr>
          <p:spPr bwMode="auto">
            <a:xfrm>
              <a:off x="8351804" y="4989460"/>
              <a:ext cx="113556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09" name="îşļiḓè">
              <a:extLst>
                <a:ext uri="{FF2B5EF4-FFF2-40B4-BE49-F238E27FC236}">
                  <a16:creationId xmlns:a16="http://schemas.microsoft.com/office/drawing/2014/main" id="{0685CCE9-4C3B-458D-B689-D4CDADB1FE43}"/>
                </a:ext>
              </a:extLst>
            </p:cNvPr>
            <p:cNvSpPr/>
            <p:nvPr userDrawn="1"/>
          </p:nvSpPr>
          <p:spPr bwMode="auto">
            <a:xfrm>
              <a:off x="7815294" y="4875903"/>
              <a:ext cx="1193159" cy="113556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10" name="ïṥḻïḋê">
              <a:extLst>
                <a:ext uri="{FF2B5EF4-FFF2-40B4-BE49-F238E27FC236}">
                  <a16:creationId xmlns:a16="http://schemas.microsoft.com/office/drawing/2014/main" id="{18BB8CCB-7A37-4305-BC22-E897B2D7218F}"/>
                </a:ext>
              </a:extLst>
            </p:cNvPr>
            <p:cNvSpPr/>
            <p:nvPr userDrawn="1"/>
          </p:nvSpPr>
          <p:spPr bwMode="auto">
            <a:xfrm>
              <a:off x="8320535" y="4150134"/>
              <a:ext cx="179386" cy="1550284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11" name="işḻíḓé">
              <a:extLst>
                <a:ext uri="{FF2B5EF4-FFF2-40B4-BE49-F238E27FC236}">
                  <a16:creationId xmlns:a16="http://schemas.microsoft.com/office/drawing/2014/main" id="{2932BA5A-E590-446D-B0B5-F85B86EC9928}"/>
                </a:ext>
              </a:extLst>
            </p:cNvPr>
            <p:cNvSpPr/>
            <p:nvPr userDrawn="1"/>
          </p:nvSpPr>
          <p:spPr bwMode="auto">
            <a:xfrm>
              <a:off x="8346867" y="2856585"/>
              <a:ext cx="126722" cy="1316589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12" name="íṧḷidé">
              <a:extLst>
                <a:ext uri="{FF2B5EF4-FFF2-40B4-BE49-F238E27FC236}">
                  <a16:creationId xmlns:a16="http://schemas.microsoft.com/office/drawing/2014/main" id="{2D5B728A-3BBA-40F1-9634-ACC386604EE9}"/>
                </a:ext>
              </a:extLst>
            </p:cNvPr>
            <p:cNvSpPr/>
            <p:nvPr userDrawn="1"/>
          </p:nvSpPr>
          <p:spPr bwMode="auto">
            <a:xfrm>
              <a:off x="7675406" y="5688897"/>
              <a:ext cx="488784" cy="190905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13" name="i$ḷîde">
              <a:extLst>
                <a:ext uri="{FF2B5EF4-FFF2-40B4-BE49-F238E27FC236}">
                  <a16:creationId xmlns:a16="http://schemas.microsoft.com/office/drawing/2014/main" id="{812BEC7E-920B-41D1-A017-5F0EA119128E}"/>
                </a:ext>
              </a:extLst>
            </p:cNvPr>
            <p:cNvSpPr/>
            <p:nvPr userDrawn="1"/>
          </p:nvSpPr>
          <p:spPr bwMode="auto">
            <a:xfrm>
              <a:off x="7556913" y="4173174"/>
              <a:ext cx="855783" cy="855783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14" name="ïşḻïḓe">
              <a:extLst>
                <a:ext uri="{FF2B5EF4-FFF2-40B4-BE49-F238E27FC236}">
                  <a16:creationId xmlns:a16="http://schemas.microsoft.com/office/drawing/2014/main" id="{9B8FC791-6553-4B3F-823B-DA0CCE0AD320}"/>
                </a:ext>
              </a:extLst>
            </p:cNvPr>
            <p:cNvSpPr/>
            <p:nvPr userDrawn="1"/>
          </p:nvSpPr>
          <p:spPr bwMode="auto">
            <a:xfrm>
              <a:off x="8439028" y="4173174"/>
              <a:ext cx="852491" cy="855783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15" name="iṩḻïdè">
              <a:extLst>
                <a:ext uri="{FF2B5EF4-FFF2-40B4-BE49-F238E27FC236}">
                  <a16:creationId xmlns:a16="http://schemas.microsoft.com/office/drawing/2014/main" id="{C7B961F2-0FA1-496B-BF75-1B80184F7546}"/>
                </a:ext>
              </a:extLst>
            </p:cNvPr>
            <p:cNvSpPr/>
            <p:nvPr userDrawn="1"/>
          </p:nvSpPr>
          <p:spPr bwMode="auto">
            <a:xfrm>
              <a:off x="8309014" y="5700418"/>
              <a:ext cx="207363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16" name="íṧḻíḋe">
              <a:extLst>
                <a:ext uri="{FF2B5EF4-FFF2-40B4-BE49-F238E27FC236}">
                  <a16:creationId xmlns:a16="http://schemas.microsoft.com/office/drawing/2014/main" id="{68EA8E57-BFE3-41B8-90C7-BAE4C2494936}"/>
                </a:ext>
              </a:extLst>
            </p:cNvPr>
            <p:cNvSpPr/>
            <p:nvPr userDrawn="1"/>
          </p:nvSpPr>
          <p:spPr bwMode="auto">
            <a:xfrm>
              <a:off x="8309014" y="4085950"/>
              <a:ext cx="207363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17" name="ïş1ïḓê">
              <a:extLst>
                <a:ext uri="{FF2B5EF4-FFF2-40B4-BE49-F238E27FC236}">
                  <a16:creationId xmlns:a16="http://schemas.microsoft.com/office/drawing/2014/main" id="{D0752CDE-0251-4715-B0F5-4392FFAA894B}"/>
                </a:ext>
              </a:extLst>
            </p:cNvPr>
            <p:cNvSpPr/>
            <p:nvPr userDrawn="1"/>
          </p:nvSpPr>
          <p:spPr bwMode="auto">
            <a:xfrm>
              <a:off x="7961765" y="5700418"/>
              <a:ext cx="210654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18" name="iṥḷïdé">
              <a:extLst>
                <a:ext uri="{FF2B5EF4-FFF2-40B4-BE49-F238E27FC236}">
                  <a16:creationId xmlns:a16="http://schemas.microsoft.com/office/drawing/2014/main" id="{F6EBCF3F-E47C-43D1-9DD6-AE7F8F37E631}"/>
                </a:ext>
              </a:extLst>
            </p:cNvPr>
            <p:cNvSpPr/>
            <p:nvPr userDrawn="1"/>
          </p:nvSpPr>
          <p:spPr bwMode="auto">
            <a:xfrm>
              <a:off x="8652974" y="5700418"/>
              <a:ext cx="210654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1219" name="îṩľîde">
              <a:extLst>
                <a:ext uri="{FF2B5EF4-FFF2-40B4-BE49-F238E27FC236}">
                  <a16:creationId xmlns:a16="http://schemas.microsoft.com/office/drawing/2014/main" id="{6A63D590-6C4D-47BF-9141-493E199B4666}"/>
                </a:ext>
              </a:extLst>
            </p:cNvPr>
            <p:cNvSpPr/>
            <p:nvPr userDrawn="1"/>
          </p:nvSpPr>
          <p:spPr bwMode="auto">
            <a:xfrm>
              <a:off x="8095069" y="5688897"/>
              <a:ext cx="635254" cy="72412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72344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D7BB0-1597-4F0C-B686-1F625CAFE9F4}" type="datetime1">
              <a:rPr lang="zh-TW" altLang="en-US" smtClean="0"/>
              <a:t>2021/10/6</a:t>
            </a:fld>
            <a:endParaRPr lang="zh-TW" altLang="en-US"/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7112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0625531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12800" y="273050"/>
            <a:ext cx="10769600" cy="869950"/>
          </a:xfrm>
        </p:spPr>
        <p:txBody>
          <a:bodyPr anchor="ctr"/>
          <a:lstStyle>
            <a:lvl1pPr algn="l">
              <a:buNone/>
              <a:defRPr sz="4400" b="0"/>
            </a:lvl1pPr>
          </a:lstStyle>
          <a:p>
            <a:r>
              <a:rPr kumimoji="0" lang="zh-TW" altLang="en-US" smtClean="0"/>
              <a:t>按一下以編輯母片標題樣式</a:t>
            </a:r>
            <a:endParaRPr kumimoji="0" lang="en-US"/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08910D-D0A2-440D-BC68-C380B6CD720A}" type="datetime1">
              <a:rPr lang="zh-TW" altLang="en-US" smtClean="0"/>
              <a:t>2021/10/6</a:t>
            </a:fld>
            <a:endParaRPr lang="zh-TW" altLang="en-US"/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2"/>
          </p:nvPr>
        </p:nvSpPr>
        <p:spPr>
          <a:xfrm>
            <a:off x="812800" y="1752600"/>
            <a:ext cx="21336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>
                <a:latin typeface="Arial" panose="020B0604020202020204" pitchFamily="34" charset="0"/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zh-TW" altLang="en-US" dirty="0" smtClean="0"/>
              <a:t>按一下以編輯母片文字樣式</a:t>
            </a:r>
          </a:p>
        </p:txBody>
      </p:sp>
      <p:sp>
        <p:nvSpPr>
          <p:cNvPr id="9" name="內容版面配置區 8"/>
          <p:cNvSpPr>
            <a:spLocks noGrp="1"/>
          </p:cNvSpPr>
          <p:nvPr>
            <p:ph sz="quarter" idx="1"/>
          </p:nvPr>
        </p:nvSpPr>
        <p:spPr>
          <a:xfrm>
            <a:off x="3149600" y="1752600"/>
            <a:ext cx="8534400" cy="4419600"/>
          </a:xfrm>
        </p:spPr>
        <p:txBody>
          <a:bodyPr/>
          <a:lstStyle/>
          <a:p>
            <a:pPr lvl="0" eaLnBrk="1" latinLnBrk="0" hangingPunct="1"/>
            <a:r>
              <a:rPr lang="zh-TW" altLang="en-US" smtClean="0"/>
              <a:t>按一下以編輯母片文字樣式</a:t>
            </a:r>
          </a:p>
          <a:p>
            <a:pPr lvl="1" eaLnBrk="1" latinLnBrk="0" hangingPunct="1"/>
            <a:r>
              <a:rPr lang="zh-TW" altLang="en-US" smtClean="0"/>
              <a:t>第二層</a:t>
            </a:r>
          </a:p>
          <a:p>
            <a:pPr lvl="2" eaLnBrk="1" latinLnBrk="0" hangingPunct="1"/>
            <a:r>
              <a:rPr lang="zh-TW" altLang="en-US" smtClean="0"/>
              <a:t>第三層</a:t>
            </a:r>
          </a:p>
          <a:p>
            <a:pPr lvl="3" eaLnBrk="1" latinLnBrk="0" hangingPunct="1"/>
            <a:r>
              <a:rPr lang="zh-TW" altLang="en-US" smtClean="0"/>
              <a:t>第四層</a:t>
            </a:r>
          </a:p>
          <a:p>
            <a:pPr lvl="4" eaLnBrk="1" latinLnBrk="0" hangingPunct="1"/>
            <a:r>
              <a:rPr lang="zh-TW" altLang="en-US" smtClean="0"/>
              <a:t>第五層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3018447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含標題的圖片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2133600" y="5486400"/>
            <a:ext cx="97536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zh-TW" altLang="en-US" smtClean="0"/>
              <a:t>按一下以編輯母片文字樣式</a:t>
            </a:r>
          </a:p>
        </p:txBody>
      </p:sp>
      <p:sp>
        <p:nvSpPr>
          <p:cNvPr id="8" name="矩形 7"/>
          <p:cNvSpPr/>
          <p:nvPr/>
        </p:nvSpPr>
        <p:spPr bwMode="white">
          <a:xfrm>
            <a:off x="-12192" y="4572000"/>
            <a:ext cx="12192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-12192" y="4663440"/>
            <a:ext cx="1950720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2060448" y="4654296"/>
            <a:ext cx="10131552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2133600" y="4648200"/>
            <a:ext cx="9753600" cy="685800"/>
          </a:xfrm>
        </p:spPr>
        <p:txBody>
          <a:bodyPr anchor="ctr"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kumimoji="0" lang="zh-TW" altLang="en-US" smtClean="0"/>
              <a:t>按一下以編輯母片標題樣式</a:t>
            </a:r>
            <a:endParaRPr kumimoji="0" lang="en-US"/>
          </a:p>
        </p:txBody>
      </p:sp>
      <p:sp>
        <p:nvSpPr>
          <p:cNvPr id="11" name="矩形 10"/>
          <p:cNvSpPr/>
          <p:nvPr/>
        </p:nvSpPr>
        <p:spPr bwMode="white">
          <a:xfrm>
            <a:off x="1930400" y="0"/>
            <a:ext cx="134112" cy="6867144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12" name="日期版面配置區 11"/>
          <p:cNvSpPr>
            <a:spLocks noGrp="1"/>
          </p:cNvSpPr>
          <p:nvPr>
            <p:ph type="dt" sz="half" idx="10"/>
          </p:nvPr>
        </p:nvSpPr>
        <p:spPr>
          <a:xfrm>
            <a:off x="8331200" y="6248401"/>
            <a:ext cx="3556000" cy="365125"/>
          </a:xfrm>
        </p:spPr>
        <p:txBody>
          <a:bodyPr rtlCol="0"/>
          <a:lstStyle/>
          <a:p>
            <a:fld id="{A0CC60CC-E679-466B-996C-6EE6FF2CBC6B}" type="datetime1">
              <a:rPr lang="zh-TW" altLang="en-US" smtClean="0"/>
              <a:t>2021/10/6</a:t>
            </a:fld>
            <a:endParaRPr lang="zh-TW" altLang="en-US"/>
          </a:p>
        </p:txBody>
      </p:sp>
      <p:sp>
        <p:nvSpPr>
          <p:cNvPr id="13" name="投影片編號版面配置區 12"/>
          <p:cNvSpPr>
            <a:spLocks noGrp="1"/>
          </p:cNvSpPr>
          <p:nvPr>
            <p:ph type="sldNum" sz="quarter" idx="11"/>
          </p:nvPr>
        </p:nvSpPr>
        <p:spPr>
          <a:xfrm>
            <a:off x="0" y="4667249"/>
            <a:ext cx="1930400" cy="663578"/>
          </a:xfrm>
        </p:spPr>
        <p:txBody>
          <a:bodyPr rtlCol="0"/>
          <a:lstStyle>
            <a:lvl1pPr>
              <a:defRPr sz="2800"/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14" name="頁尾版面配置區 13"/>
          <p:cNvSpPr>
            <a:spLocks noGrp="1"/>
          </p:cNvSpPr>
          <p:nvPr>
            <p:ph type="ftr" sz="quarter" idx="12"/>
          </p:nvPr>
        </p:nvSpPr>
        <p:spPr>
          <a:xfrm>
            <a:off x="2133600" y="6248207"/>
            <a:ext cx="6096000" cy="365125"/>
          </a:xfrm>
        </p:spPr>
        <p:txBody>
          <a:bodyPr rtlCol="0"/>
          <a:lstStyle/>
          <a:p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2080768" y="0"/>
            <a:ext cx="10111232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zh-TW" altLang="en-US" smtClean="0"/>
              <a:t>按一下圖示以新增圖片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18212086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zh-TW" altLang="en-US" smtClean="0"/>
              <a:t>按一下以編輯母片標題樣式</a:t>
            </a:r>
            <a:endParaRPr kumimoji="0"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zh-TW" altLang="en-US" smtClean="0"/>
              <a:t>按一下以編輯母片文字樣式</a:t>
            </a:r>
          </a:p>
          <a:p>
            <a:pPr lvl="1" eaLnBrk="1" latinLnBrk="0" hangingPunct="1"/>
            <a:r>
              <a:rPr lang="zh-TW" altLang="en-US" smtClean="0"/>
              <a:t>第二層</a:t>
            </a:r>
          </a:p>
          <a:p>
            <a:pPr lvl="2" eaLnBrk="1" latinLnBrk="0" hangingPunct="1"/>
            <a:r>
              <a:rPr lang="zh-TW" altLang="en-US" smtClean="0"/>
              <a:t>第三層</a:t>
            </a:r>
          </a:p>
          <a:p>
            <a:pPr lvl="3" eaLnBrk="1" latinLnBrk="0" hangingPunct="1"/>
            <a:r>
              <a:rPr lang="zh-TW" altLang="en-US" smtClean="0"/>
              <a:t>第四層</a:t>
            </a:r>
          </a:p>
          <a:p>
            <a:pPr lvl="4" eaLnBrk="1" latinLnBrk="0" hangingPunct="1"/>
            <a:r>
              <a:rPr lang="zh-TW" altLang="en-US" smtClean="0"/>
              <a:t>第五層</a:t>
            </a:r>
            <a:endParaRPr kumimoji="0" 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637C-EACD-4536-AEC8-470B273D54EC}" type="datetime1">
              <a:rPr lang="zh-TW" altLang="en-US" smtClean="0"/>
              <a:t>2021/10/6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245089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直排標題及文字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8737600" y="609601"/>
            <a:ext cx="2743200" cy="5516563"/>
          </a:xfrm>
        </p:spPr>
        <p:txBody>
          <a:bodyPr vert="eaVert"/>
          <a:lstStyle/>
          <a:p>
            <a:r>
              <a:rPr kumimoji="0" lang="zh-TW" altLang="en-US" smtClean="0"/>
              <a:t>按一下以編輯母片標題樣式</a:t>
            </a:r>
            <a:endParaRPr kumimoji="0"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609600" y="609600"/>
            <a:ext cx="7416800" cy="5516564"/>
          </a:xfrm>
        </p:spPr>
        <p:txBody>
          <a:bodyPr vert="eaVert"/>
          <a:lstStyle/>
          <a:p>
            <a:pPr lvl="0" eaLnBrk="1" latinLnBrk="0" hangingPunct="1"/>
            <a:r>
              <a:rPr lang="zh-TW" altLang="en-US" smtClean="0"/>
              <a:t>按一下以編輯母片文字樣式</a:t>
            </a:r>
          </a:p>
          <a:p>
            <a:pPr lvl="1" eaLnBrk="1" latinLnBrk="0" hangingPunct="1"/>
            <a:r>
              <a:rPr lang="zh-TW" altLang="en-US" smtClean="0"/>
              <a:t>第二層</a:t>
            </a:r>
          </a:p>
          <a:p>
            <a:pPr lvl="2" eaLnBrk="1" latinLnBrk="0" hangingPunct="1"/>
            <a:r>
              <a:rPr lang="zh-TW" altLang="en-US" smtClean="0"/>
              <a:t>第三層</a:t>
            </a:r>
          </a:p>
          <a:p>
            <a:pPr lvl="3" eaLnBrk="1" latinLnBrk="0" hangingPunct="1"/>
            <a:r>
              <a:rPr lang="zh-TW" altLang="en-US" smtClean="0"/>
              <a:t>第四層</a:t>
            </a:r>
          </a:p>
          <a:p>
            <a:pPr lvl="4" eaLnBrk="1" latinLnBrk="0" hangingPunct="1"/>
            <a:r>
              <a:rPr lang="zh-TW" altLang="en-US" smtClean="0"/>
              <a:t>第五層</a:t>
            </a:r>
            <a:endParaRPr kumimoji="0" 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8737600" y="6248403"/>
            <a:ext cx="2946400" cy="365125"/>
          </a:xfrm>
        </p:spPr>
        <p:txBody>
          <a:bodyPr/>
          <a:lstStyle/>
          <a:p>
            <a:fld id="{DD431DFD-C98C-4C03-9A08-F2C4BC5C3AD2}" type="datetime1">
              <a:rPr lang="zh-TW" altLang="en-US" smtClean="0"/>
              <a:t>2021/10/6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609602" y="6248208"/>
            <a:ext cx="7431311" cy="365125"/>
          </a:xfrm>
        </p:spPr>
        <p:txBody>
          <a:bodyPr/>
          <a:lstStyle/>
          <a:p>
            <a:endParaRPr lang="zh-TW" altLang="en-US"/>
          </a:p>
        </p:txBody>
      </p:sp>
      <p:sp>
        <p:nvSpPr>
          <p:cNvPr id="7" name="矩形 6"/>
          <p:cNvSpPr/>
          <p:nvPr/>
        </p:nvSpPr>
        <p:spPr bwMode="white">
          <a:xfrm>
            <a:off x="8128424" y="0"/>
            <a:ext cx="426720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8189384" y="609600"/>
            <a:ext cx="3048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8189384" y="0"/>
            <a:ext cx="3048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 rot="5400000">
            <a:off x="8075084" y="103716"/>
            <a:ext cx="533400" cy="325968"/>
          </a:xfrm>
        </p:spPr>
        <p:txBody>
          <a:bodyPr/>
          <a:lstStyle/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32676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矩形 208">
            <a:extLst>
              <a:ext uri="{FF2B5EF4-FFF2-40B4-BE49-F238E27FC236}">
                <a16:creationId xmlns:a16="http://schemas.microsoft.com/office/drawing/2014/main" id="{8C37FE3A-6A6F-4D83-8E68-1ACB1353CE3B}"/>
              </a:ext>
            </a:extLst>
          </p:cNvPr>
          <p:cNvSpPr/>
          <p:nvPr userDrawn="1"/>
        </p:nvSpPr>
        <p:spPr>
          <a:xfrm>
            <a:off x="0" y="3501445"/>
            <a:ext cx="12192000" cy="3364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10" name="组合 20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E61662C-3B31-49F7-B7A6-4C83CFB01F0B}"/>
              </a:ext>
            </a:extLst>
          </p:cNvPr>
          <p:cNvGrpSpPr/>
          <p:nvPr userDrawn="1"/>
        </p:nvGrpSpPr>
        <p:grpSpPr>
          <a:xfrm>
            <a:off x="2566182" y="1205559"/>
            <a:ext cx="3529818" cy="3435378"/>
            <a:chOff x="3660775" y="974725"/>
            <a:chExt cx="5043488" cy="4908550"/>
          </a:xfrm>
        </p:grpSpPr>
        <p:sp>
          <p:nvSpPr>
            <p:cNvPr id="211" name="îṣḷïde">
              <a:extLst>
                <a:ext uri="{FF2B5EF4-FFF2-40B4-BE49-F238E27FC236}">
                  <a16:creationId xmlns:a16="http://schemas.microsoft.com/office/drawing/2014/main" id="{9F815CED-9F4A-4838-B283-7E3090059E38}"/>
                </a:ext>
              </a:extLst>
            </p:cNvPr>
            <p:cNvSpPr/>
            <p:nvPr userDrawn="1"/>
          </p:nvSpPr>
          <p:spPr bwMode="auto">
            <a:xfrm>
              <a:off x="4000500" y="2686050"/>
              <a:ext cx="625475" cy="1471613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12" name="ïšḻíḍê">
              <a:extLst>
                <a:ext uri="{FF2B5EF4-FFF2-40B4-BE49-F238E27FC236}">
                  <a16:creationId xmlns:a16="http://schemas.microsoft.com/office/drawing/2014/main" id="{67DE7ED1-1B08-4F80-9FC2-6F89A9EE9CBF}"/>
                </a:ext>
              </a:extLst>
            </p:cNvPr>
            <p:cNvSpPr/>
            <p:nvPr userDrawn="1"/>
          </p:nvSpPr>
          <p:spPr bwMode="auto">
            <a:xfrm>
              <a:off x="4522788" y="2686050"/>
              <a:ext cx="103188" cy="246063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rgbClr val="B57B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13" name="íšḷiḑe">
              <a:extLst>
                <a:ext uri="{FF2B5EF4-FFF2-40B4-BE49-F238E27FC236}">
                  <a16:creationId xmlns:a16="http://schemas.microsoft.com/office/drawing/2014/main" id="{7CE1EB59-FDFC-4B41-A456-22EA5FCC9CF9}"/>
                </a:ext>
              </a:extLst>
            </p:cNvPr>
            <p:cNvSpPr/>
            <p:nvPr userDrawn="1"/>
          </p:nvSpPr>
          <p:spPr bwMode="auto">
            <a:xfrm>
              <a:off x="6607175" y="1352550"/>
              <a:ext cx="1404938" cy="1403350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14" name="îṩ1iḑé">
              <a:extLst>
                <a:ext uri="{FF2B5EF4-FFF2-40B4-BE49-F238E27FC236}">
                  <a16:creationId xmlns:a16="http://schemas.microsoft.com/office/drawing/2014/main" id="{693233A4-2E2D-4FEC-981E-F5A43CDC2A0D}"/>
                </a:ext>
              </a:extLst>
            </p:cNvPr>
            <p:cNvSpPr/>
            <p:nvPr userDrawn="1"/>
          </p:nvSpPr>
          <p:spPr bwMode="auto">
            <a:xfrm>
              <a:off x="8085138" y="1735138"/>
              <a:ext cx="619125" cy="619125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15" name="ïṧ1îďê">
              <a:extLst>
                <a:ext uri="{FF2B5EF4-FFF2-40B4-BE49-F238E27FC236}">
                  <a16:creationId xmlns:a16="http://schemas.microsoft.com/office/drawing/2014/main" id="{82077191-990F-46EB-AC7D-3BD85432FB73}"/>
                </a:ext>
              </a:extLst>
            </p:cNvPr>
            <p:cNvSpPr/>
            <p:nvPr userDrawn="1"/>
          </p:nvSpPr>
          <p:spPr bwMode="auto">
            <a:xfrm>
              <a:off x="5824538" y="974725"/>
              <a:ext cx="914400" cy="911225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16" name="íşlïďê">
              <a:extLst>
                <a:ext uri="{FF2B5EF4-FFF2-40B4-BE49-F238E27FC236}">
                  <a16:creationId xmlns:a16="http://schemas.microsoft.com/office/drawing/2014/main" id="{C238C2D4-A315-4A67-AF83-E608C0C4D71E}"/>
                </a:ext>
              </a:extLst>
            </p:cNvPr>
            <p:cNvSpPr/>
            <p:nvPr userDrawn="1"/>
          </p:nvSpPr>
          <p:spPr bwMode="auto">
            <a:xfrm>
              <a:off x="3660775" y="4157663"/>
              <a:ext cx="4867275" cy="125413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17" name="íśḷïdè">
              <a:extLst>
                <a:ext uri="{FF2B5EF4-FFF2-40B4-BE49-F238E27FC236}">
                  <a16:creationId xmlns:a16="http://schemas.microsoft.com/office/drawing/2014/main" id="{FB21D5AA-DD86-4396-9505-2B9F47F0C2CC}"/>
                </a:ext>
              </a:extLst>
            </p:cNvPr>
            <p:cNvSpPr/>
            <p:nvPr userDrawn="1"/>
          </p:nvSpPr>
          <p:spPr bwMode="auto">
            <a:xfrm>
              <a:off x="3663950" y="4246563"/>
              <a:ext cx="4859338" cy="36513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18" name="îṥlïḋê">
              <a:extLst>
                <a:ext uri="{FF2B5EF4-FFF2-40B4-BE49-F238E27FC236}">
                  <a16:creationId xmlns:a16="http://schemas.microsoft.com/office/drawing/2014/main" id="{881A9875-ABC3-430C-8E2C-3A83041D85FA}"/>
                </a:ext>
              </a:extLst>
            </p:cNvPr>
            <p:cNvSpPr/>
            <p:nvPr userDrawn="1"/>
          </p:nvSpPr>
          <p:spPr bwMode="auto">
            <a:xfrm>
              <a:off x="5121275" y="4090988"/>
              <a:ext cx="1758950" cy="66675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19" name="îṣľíḑê">
              <a:extLst>
                <a:ext uri="{FF2B5EF4-FFF2-40B4-BE49-F238E27FC236}">
                  <a16:creationId xmlns:a16="http://schemas.microsoft.com/office/drawing/2014/main" id="{034FC554-C133-4260-ABC8-1DCA170091B6}"/>
                </a:ext>
              </a:extLst>
            </p:cNvPr>
            <p:cNvSpPr/>
            <p:nvPr userDrawn="1"/>
          </p:nvSpPr>
          <p:spPr bwMode="auto">
            <a:xfrm>
              <a:off x="5300663" y="4090988"/>
              <a:ext cx="1758950" cy="66675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20" name="iṩ1idè">
              <a:extLst>
                <a:ext uri="{FF2B5EF4-FFF2-40B4-BE49-F238E27FC236}">
                  <a16:creationId xmlns:a16="http://schemas.microsoft.com/office/drawing/2014/main" id="{135256E0-6AD7-489D-B654-3212BD3B17C6}"/>
                </a:ext>
              </a:extLst>
            </p:cNvPr>
            <p:cNvSpPr/>
            <p:nvPr userDrawn="1"/>
          </p:nvSpPr>
          <p:spPr bwMode="auto">
            <a:xfrm>
              <a:off x="4689475" y="1924050"/>
              <a:ext cx="2824163" cy="1762125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172F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21" name="ï$1iďè">
              <a:extLst>
                <a:ext uri="{FF2B5EF4-FFF2-40B4-BE49-F238E27FC236}">
                  <a16:creationId xmlns:a16="http://schemas.microsoft.com/office/drawing/2014/main" id="{F6AA95AF-CFE7-468E-B732-26B1BD4D19EE}"/>
                </a:ext>
              </a:extLst>
            </p:cNvPr>
            <p:cNvSpPr/>
            <p:nvPr userDrawn="1"/>
          </p:nvSpPr>
          <p:spPr bwMode="auto">
            <a:xfrm>
              <a:off x="6083300" y="2189163"/>
              <a:ext cx="36513" cy="1231900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22" name="ïŝḻïḓè">
              <a:extLst>
                <a:ext uri="{FF2B5EF4-FFF2-40B4-BE49-F238E27FC236}">
                  <a16:creationId xmlns:a16="http://schemas.microsoft.com/office/drawing/2014/main" id="{34614279-AE0A-42EB-BD13-292D920E2637}"/>
                </a:ext>
              </a:extLst>
            </p:cNvPr>
            <p:cNvSpPr/>
            <p:nvPr userDrawn="1"/>
          </p:nvSpPr>
          <p:spPr bwMode="auto">
            <a:xfrm>
              <a:off x="4689475" y="1924050"/>
              <a:ext cx="2824163" cy="184150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23" name="íṧľîḑe">
              <a:extLst>
                <a:ext uri="{FF2B5EF4-FFF2-40B4-BE49-F238E27FC236}">
                  <a16:creationId xmlns:a16="http://schemas.microsoft.com/office/drawing/2014/main" id="{298945AC-65AD-4286-BA45-E7C81CABBA4A}"/>
                </a:ext>
              </a:extLst>
            </p:cNvPr>
            <p:cNvSpPr/>
            <p:nvPr userDrawn="1"/>
          </p:nvSpPr>
          <p:spPr bwMode="auto">
            <a:xfrm>
              <a:off x="6323013" y="2828925"/>
              <a:ext cx="390525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24" name="ísļídè">
              <a:extLst>
                <a:ext uri="{FF2B5EF4-FFF2-40B4-BE49-F238E27FC236}">
                  <a16:creationId xmlns:a16="http://schemas.microsoft.com/office/drawing/2014/main" id="{29689A9A-61E9-4824-81B3-A2A002BA92BD}"/>
                </a:ext>
              </a:extLst>
            </p:cNvPr>
            <p:cNvSpPr/>
            <p:nvPr userDrawn="1"/>
          </p:nvSpPr>
          <p:spPr bwMode="auto">
            <a:xfrm>
              <a:off x="6323013" y="2957513"/>
              <a:ext cx="485775" cy="66675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25" name="îSlíḑè">
              <a:extLst>
                <a:ext uri="{FF2B5EF4-FFF2-40B4-BE49-F238E27FC236}">
                  <a16:creationId xmlns:a16="http://schemas.microsoft.com/office/drawing/2014/main" id="{B0B64C9E-6C96-4267-87EC-BA99FC6A8F1A}"/>
                </a:ext>
              </a:extLst>
            </p:cNvPr>
            <p:cNvSpPr/>
            <p:nvPr userDrawn="1"/>
          </p:nvSpPr>
          <p:spPr bwMode="auto">
            <a:xfrm>
              <a:off x="6858000" y="2957513"/>
              <a:ext cx="2397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26" name="ïslíďê">
              <a:extLst>
                <a:ext uri="{FF2B5EF4-FFF2-40B4-BE49-F238E27FC236}">
                  <a16:creationId xmlns:a16="http://schemas.microsoft.com/office/drawing/2014/main" id="{595D0915-7554-4636-B827-D4D6168C24E9}"/>
                </a:ext>
              </a:extLst>
            </p:cNvPr>
            <p:cNvSpPr/>
            <p:nvPr userDrawn="1"/>
          </p:nvSpPr>
          <p:spPr bwMode="auto">
            <a:xfrm>
              <a:off x="6323013" y="3086100"/>
              <a:ext cx="192088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27" name="íṥļïďé">
              <a:extLst>
                <a:ext uri="{FF2B5EF4-FFF2-40B4-BE49-F238E27FC236}">
                  <a16:creationId xmlns:a16="http://schemas.microsoft.com/office/drawing/2014/main" id="{528FE62F-C06E-494D-890A-E500CB0FA152}"/>
                </a:ext>
              </a:extLst>
            </p:cNvPr>
            <p:cNvSpPr/>
            <p:nvPr userDrawn="1"/>
          </p:nvSpPr>
          <p:spPr bwMode="auto">
            <a:xfrm>
              <a:off x="6580188" y="3086100"/>
              <a:ext cx="71596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28" name="ïṧḻiďê">
              <a:extLst>
                <a:ext uri="{FF2B5EF4-FFF2-40B4-BE49-F238E27FC236}">
                  <a16:creationId xmlns:a16="http://schemas.microsoft.com/office/drawing/2014/main" id="{8B84DC9C-E176-480B-8065-BCFEF8896A50}"/>
                </a:ext>
              </a:extLst>
            </p:cNvPr>
            <p:cNvSpPr/>
            <p:nvPr userDrawn="1"/>
          </p:nvSpPr>
          <p:spPr bwMode="auto">
            <a:xfrm>
              <a:off x="6580188" y="3086100"/>
              <a:ext cx="715963" cy="66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29" name="îṩḻiḓê">
              <a:extLst>
                <a:ext uri="{FF2B5EF4-FFF2-40B4-BE49-F238E27FC236}">
                  <a16:creationId xmlns:a16="http://schemas.microsoft.com/office/drawing/2014/main" id="{C0870957-D403-4800-B4B0-C7C51FF56F3D}"/>
                </a:ext>
              </a:extLst>
            </p:cNvPr>
            <p:cNvSpPr/>
            <p:nvPr userDrawn="1"/>
          </p:nvSpPr>
          <p:spPr bwMode="auto">
            <a:xfrm>
              <a:off x="6802438" y="2828925"/>
              <a:ext cx="223838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30" name="îŝ1îḍê">
              <a:extLst>
                <a:ext uri="{FF2B5EF4-FFF2-40B4-BE49-F238E27FC236}">
                  <a16:creationId xmlns:a16="http://schemas.microsoft.com/office/drawing/2014/main" id="{7A1C70C2-D69C-44C8-B8DC-90B30B3FDED9}"/>
                </a:ext>
              </a:extLst>
            </p:cNvPr>
            <p:cNvSpPr/>
            <p:nvPr userDrawn="1"/>
          </p:nvSpPr>
          <p:spPr bwMode="auto">
            <a:xfrm>
              <a:off x="6323013" y="2220913"/>
              <a:ext cx="390525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31" name="iṩ1îďé">
              <a:extLst>
                <a:ext uri="{FF2B5EF4-FFF2-40B4-BE49-F238E27FC236}">
                  <a16:creationId xmlns:a16="http://schemas.microsoft.com/office/drawing/2014/main" id="{5B66572D-DFEB-44A8-BCB9-6D2A59AFB190}"/>
                </a:ext>
              </a:extLst>
            </p:cNvPr>
            <p:cNvSpPr/>
            <p:nvPr userDrawn="1"/>
          </p:nvSpPr>
          <p:spPr bwMode="auto">
            <a:xfrm>
              <a:off x="6323013" y="2351088"/>
              <a:ext cx="485775" cy="65088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32" name="iSḻíḍe">
              <a:extLst>
                <a:ext uri="{FF2B5EF4-FFF2-40B4-BE49-F238E27FC236}">
                  <a16:creationId xmlns:a16="http://schemas.microsoft.com/office/drawing/2014/main" id="{D984DE33-B66B-4605-B722-BDA90EFA2831}"/>
                </a:ext>
              </a:extLst>
            </p:cNvPr>
            <p:cNvSpPr/>
            <p:nvPr userDrawn="1"/>
          </p:nvSpPr>
          <p:spPr bwMode="auto">
            <a:xfrm>
              <a:off x="6858000" y="2351088"/>
              <a:ext cx="23971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33" name="íṥ1iḍè">
              <a:extLst>
                <a:ext uri="{FF2B5EF4-FFF2-40B4-BE49-F238E27FC236}">
                  <a16:creationId xmlns:a16="http://schemas.microsoft.com/office/drawing/2014/main" id="{F0B0A692-2AA2-49A8-8776-54DE8F97BD1C}"/>
                </a:ext>
              </a:extLst>
            </p:cNvPr>
            <p:cNvSpPr/>
            <p:nvPr userDrawn="1"/>
          </p:nvSpPr>
          <p:spPr bwMode="auto">
            <a:xfrm>
              <a:off x="6323013" y="2479675"/>
              <a:ext cx="192088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34" name="íṡ1íḓe">
              <a:extLst>
                <a:ext uri="{FF2B5EF4-FFF2-40B4-BE49-F238E27FC236}">
                  <a16:creationId xmlns:a16="http://schemas.microsoft.com/office/drawing/2014/main" id="{BEFC73D3-5675-4EB0-B738-8D4610EC0F81}"/>
                </a:ext>
              </a:extLst>
            </p:cNvPr>
            <p:cNvSpPr/>
            <p:nvPr userDrawn="1"/>
          </p:nvSpPr>
          <p:spPr bwMode="auto">
            <a:xfrm>
              <a:off x="6580188" y="2479675"/>
              <a:ext cx="71596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35" name="íŝľíḑe">
              <a:extLst>
                <a:ext uri="{FF2B5EF4-FFF2-40B4-BE49-F238E27FC236}">
                  <a16:creationId xmlns:a16="http://schemas.microsoft.com/office/drawing/2014/main" id="{97EFC203-7A3E-48BB-A2FD-D90A595525E0}"/>
                </a:ext>
              </a:extLst>
            </p:cNvPr>
            <p:cNvSpPr/>
            <p:nvPr userDrawn="1"/>
          </p:nvSpPr>
          <p:spPr bwMode="auto">
            <a:xfrm>
              <a:off x="6802438" y="2220913"/>
              <a:ext cx="223838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36" name="ïṥ1îḓè">
              <a:extLst>
                <a:ext uri="{FF2B5EF4-FFF2-40B4-BE49-F238E27FC236}">
                  <a16:creationId xmlns:a16="http://schemas.microsoft.com/office/drawing/2014/main" id="{6B048252-4BA1-459A-8E21-21E8ABB24328}"/>
                </a:ext>
              </a:extLst>
            </p:cNvPr>
            <p:cNvSpPr/>
            <p:nvPr userDrawn="1"/>
          </p:nvSpPr>
          <p:spPr bwMode="auto">
            <a:xfrm>
              <a:off x="5002213" y="2828925"/>
              <a:ext cx="3921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37" name="íṡḷidê">
              <a:extLst>
                <a:ext uri="{FF2B5EF4-FFF2-40B4-BE49-F238E27FC236}">
                  <a16:creationId xmlns:a16="http://schemas.microsoft.com/office/drawing/2014/main" id="{03A25EA9-7DDA-4805-9FEC-F058B82DA08B}"/>
                </a:ext>
              </a:extLst>
            </p:cNvPr>
            <p:cNvSpPr/>
            <p:nvPr userDrawn="1"/>
          </p:nvSpPr>
          <p:spPr bwMode="auto">
            <a:xfrm>
              <a:off x="5002213" y="2957513"/>
              <a:ext cx="484188" cy="66675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38" name="ïSḻïḑe">
              <a:extLst>
                <a:ext uri="{FF2B5EF4-FFF2-40B4-BE49-F238E27FC236}">
                  <a16:creationId xmlns:a16="http://schemas.microsoft.com/office/drawing/2014/main" id="{D9AA68E9-86CB-48C9-B761-014F222EFC4A}"/>
                </a:ext>
              </a:extLst>
            </p:cNvPr>
            <p:cNvSpPr/>
            <p:nvPr userDrawn="1"/>
          </p:nvSpPr>
          <p:spPr bwMode="auto">
            <a:xfrm>
              <a:off x="5537200" y="2957513"/>
              <a:ext cx="2397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39" name="ïŝlîḋe">
              <a:extLst>
                <a:ext uri="{FF2B5EF4-FFF2-40B4-BE49-F238E27FC236}">
                  <a16:creationId xmlns:a16="http://schemas.microsoft.com/office/drawing/2014/main" id="{DF610359-D451-47FC-B413-07CEFB9F9C35}"/>
                </a:ext>
              </a:extLst>
            </p:cNvPr>
            <p:cNvSpPr/>
            <p:nvPr userDrawn="1"/>
          </p:nvSpPr>
          <p:spPr bwMode="auto">
            <a:xfrm>
              <a:off x="5002213" y="3086100"/>
              <a:ext cx="192088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40" name="ïṣḷidè">
              <a:extLst>
                <a:ext uri="{FF2B5EF4-FFF2-40B4-BE49-F238E27FC236}">
                  <a16:creationId xmlns:a16="http://schemas.microsoft.com/office/drawing/2014/main" id="{86EE2074-5A4B-4337-8775-5260608E4AE3}"/>
                </a:ext>
              </a:extLst>
            </p:cNvPr>
            <p:cNvSpPr/>
            <p:nvPr userDrawn="1"/>
          </p:nvSpPr>
          <p:spPr bwMode="auto">
            <a:xfrm>
              <a:off x="5260975" y="3086100"/>
              <a:ext cx="711200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41" name="íṧľîḓê">
              <a:extLst>
                <a:ext uri="{FF2B5EF4-FFF2-40B4-BE49-F238E27FC236}">
                  <a16:creationId xmlns:a16="http://schemas.microsoft.com/office/drawing/2014/main" id="{6EC69D07-7976-4CBC-A4D7-08893777C416}"/>
                </a:ext>
              </a:extLst>
            </p:cNvPr>
            <p:cNvSpPr/>
            <p:nvPr userDrawn="1"/>
          </p:nvSpPr>
          <p:spPr bwMode="auto">
            <a:xfrm>
              <a:off x="5481638" y="2828925"/>
              <a:ext cx="225425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42" name="ïšḷîḓe">
              <a:extLst>
                <a:ext uri="{FF2B5EF4-FFF2-40B4-BE49-F238E27FC236}">
                  <a16:creationId xmlns:a16="http://schemas.microsoft.com/office/drawing/2014/main" id="{E2772D90-51F0-4204-B851-A02DEE86D856}"/>
                </a:ext>
              </a:extLst>
            </p:cNvPr>
            <p:cNvSpPr/>
            <p:nvPr userDrawn="1"/>
          </p:nvSpPr>
          <p:spPr bwMode="auto">
            <a:xfrm>
              <a:off x="5002213" y="2220913"/>
              <a:ext cx="3921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43" name="îśliḍé">
              <a:extLst>
                <a:ext uri="{FF2B5EF4-FFF2-40B4-BE49-F238E27FC236}">
                  <a16:creationId xmlns:a16="http://schemas.microsoft.com/office/drawing/2014/main" id="{44D1F172-0703-47BB-83D1-B7A21C244CE8}"/>
                </a:ext>
              </a:extLst>
            </p:cNvPr>
            <p:cNvSpPr/>
            <p:nvPr userDrawn="1"/>
          </p:nvSpPr>
          <p:spPr bwMode="auto">
            <a:xfrm>
              <a:off x="5002213" y="2351088"/>
              <a:ext cx="484188" cy="65088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44" name="iṥ1iḍê">
              <a:extLst>
                <a:ext uri="{FF2B5EF4-FFF2-40B4-BE49-F238E27FC236}">
                  <a16:creationId xmlns:a16="http://schemas.microsoft.com/office/drawing/2014/main" id="{C1846154-6A09-41D4-A7EF-0CB356236893}"/>
                </a:ext>
              </a:extLst>
            </p:cNvPr>
            <p:cNvSpPr/>
            <p:nvPr userDrawn="1"/>
          </p:nvSpPr>
          <p:spPr bwMode="auto">
            <a:xfrm>
              <a:off x="5537200" y="2351088"/>
              <a:ext cx="23971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45" name="ïSlïḑe">
              <a:extLst>
                <a:ext uri="{FF2B5EF4-FFF2-40B4-BE49-F238E27FC236}">
                  <a16:creationId xmlns:a16="http://schemas.microsoft.com/office/drawing/2014/main" id="{9128667E-8000-48E0-BD9C-7C3A79C24791}"/>
                </a:ext>
              </a:extLst>
            </p:cNvPr>
            <p:cNvSpPr/>
            <p:nvPr userDrawn="1"/>
          </p:nvSpPr>
          <p:spPr bwMode="auto">
            <a:xfrm>
              <a:off x="5002213" y="2479675"/>
              <a:ext cx="192088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46" name="ïśľîďe">
              <a:extLst>
                <a:ext uri="{FF2B5EF4-FFF2-40B4-BE49-F238E27FC236}">
                  <a16:creationId xmlns:a16="http://schemas.microsoft.com/office/drawing/2014/main" id="{951096FD-1D28-4525-A0BE-386E83D0C537}"/>
                </a:ext>
              </a:extLst>
            </p:cNvPr>
            <p:cNvSpPr/>
            <p:nvPr userDrawn="1"/>
          </p:nvSpPr>
          <p:spPr bwMode="auto">
            <a:xfrm>
              <a:off x="5260975" y="2479675"/>
              <a:ext cx="711200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47" name="îṡľiďé">
              <a:extLst>
                <a:ext uri="{FF2B5EF4-FFF2-40B4-BE49-F238E27FC236}">
                  <a16:creationId xmlns:a16="http://schemas.microsoft.com/office/drawing/2014/main" id="{170BF2D8-5469-447F-AFAD-C77832D6C9D9}"/>
                </a:ext>
              </a:extLst>
            </p:cNvPr>
            <p:cNvSpPr/>
            <p:nvPr userDrawn="1"/>
          </p:nvSpPr>
          <p:spPr bwMode="auto">
            <a:xfrm>
              <a:off x="5481638" y="2220913"/>
              <a:ext cx="225425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48" name="ís1iḋê">
              <a:extLst>
                <a:ext uri="{FF2B5EF4-FFF2-40B4-BE49-F238E27FC236}">
                  <a16:creationId xmlns:a16="http://schemas.microsoft.com/office/drawing/2014/main" id="{EA9A0FDE-4252-4FEC-9150-2157D1EEEDE9}"/>
                </a:ext>
              </a:extLst>
            </p:cNvPr>
            <p:cNvSpPr/>
            <p:nvPr userDrawn="1"/>
          </p:nvSpPr>
          <p:spPr bwMode="auto">
            <a:xfrm>
              <a:off x="4625975" y="1865313"/>
              <a:ext cx="2946400" cy="1879600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49" name="ïš1idè">
              <a:extLst>
                <a:ext uri="{FF2B5EF4-FFF2-40B4-BE49-F238E27FC236}">
                  <a16:creationId xmlns:a16="http://schemas.microsoft.com/office/drawing/2014/main" id="{218FF8F3-475B-49BC-BBE5-70957A769500}"/>
                </a:ext>
              </a:extLst>
            </p:cNvPr>
            <p:cNvSpPr/>
            <p:nvPr userDrawn="1"/>
          </p:nvSpPr>
          <p:spPr bwMode="auto">
            <a:xfrm>
              <a:off x="6919913" y="3152775"/>
              <a:ext cx="409575" cy="212725"/>
            </a:xfrm>
            <a:custGeom>
              <a:avLst/>
              <a:gdLst>
                <a:gd name="T0" fmla="*/ 2 w 111"/>
                <a:gd name="T1" fmla="*/ 37 h 58"/>
                <a:gd name="T2" fmla="*/ 2 w 111"/>
                <a:gd name="T3" fmla="*/ 41 h 58"/>
                <a:gd name="T4" fmla="*/ 0 w 111"/>
                <a:gd name="T5" fmla="*/ 58 h 58"/>
                <a:gd name="T6" fmla="*/ 24 w 111"/>
                <a:gd name="T7" fmla="*/ 58 h 58"/>
                <a:gd name="T8" fmla="*/ 2 w 111"/>
                <a:gd name="T9" fmla="*/ 37 h 58"/>
                <a:gd name="T10" fmla="*/ 69 w 111"/>
                <a:gd name="T11" fmla="*/ 0 h 58"/>
                <a:gd name="T12" fmla="*/ 41 w 111"/>
                <a:gd name="T13" fmla="*/ 0 h 58"/>
                <a:gd name="T14" fmla="*/ 39 w 111"/>
                <a:gd name="T15" fmla="*/ 1 h 58"/>
                <a:gd name="T16" fmla="*/ 36 w 111"/>
                <a:gd name="T17" fmla="*/ 2 h 58"/>
                <a:gd name="T18" fmla="*/ 77 w 111"/>
                <a:gd name="T19" fmla="*/ 40 h 58"/>
                <a:gd name="T20" fmla="*/ 73 w 111"/>
                <a:gd name="T21" fmla="*/ 58 h 58"/>
                <a:gd name="T22" fmla="*/ 110 w 111"/>
                <a:gd name="T23" fmla="*/ 58 h 58"/>
                <a:gd name="T24" fmla="*/ 92 w 111"/>
                <a:gd name="T25" fmla="*/ 13 h 58"/>
                <a:gd name="T26" fmla="*/ 92 w 111"/>
                <a:gd name="T27" fmla="*/ 13 h 58"/>
                <a:gd name="T28" fmla="*/ 69 w 111"/>
                <a:gd name="T2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1" h="58">
                  <a:moveTo>
                    <a:pt x="2" y="37"/>
                  </a:moveTo>
                  <a:cubicBezTo>
                    <a:pt x="2" y="41"/>
                    <a:pt x="2" y="41"/>
                    <a:pt x="2" y="41"/>
                  </a:cubicBezTo>
                  <a:cubicBezTo>
                    <a:pt x="0" y="46"/>
                    <a:pt x="0" y="52"/>
                    <a:pt x="0" y="58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" y="37"/>
                    <a:pt x="2" y="37"/>
                    <a:pt x="2" y="37"/>
                  </a:cubicBezTo>
                  <a:moveTo>
                    <a:pt x="69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39" y="0"/>
                    <a:pt x="39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110" y="58"/>
                    <a:pt x="110" y="58"/>
                    <a:pt x="110" y="58"/>
                  </a:cubicBezTo>
                  <a:cubicBezTo>
                    <a:pt x="111" y="41"/>
                    <a:pt x="105" y="24"/>
                    <a:pt x="92" y="13"/>
                  </a:cubicBezTo>
                  <a:cubicBezTo>
                    <a:pt x="92" y="13"/>
                    <a:pt x="92" y="13"/>
                    <a:pt x="92" y="13"/>
                  </a:cubicBezTo>
                  <a:cubicBezTo>
                    <a:pt x="86" y="7"/>
                    <a:pt x="78" y="2"/>
                    <a:pt x="69" y="0"/>
                  </a:cubicBezTo>
                </a:path>
              </a:pathLst>
            </a:custGeom>
            <a:solidFill>
              <a:srgbClr val="1327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50" name="iSľíḑé">
              <a:extLst>
                <a:ext uri="{FF2B5EF4-FFF2-40B4-BE49-F238E27FC236}">
                  <a16:creationId xmlns:a16="http://schemas.microsoft.com/office/drawing/2014/main" id="{6DBF8FCE-4C76-4049-971D-EADCFACCF652}"/>
                </a:ext>
              </a:extLst>
            </p:cNvPr>
            <p:cNvSpPr/>
            <p:nvPr userDrawn="1"/>
          </p:nvSpPr>
          <p:spPr bwMode="auto">
            <a:xfrm>
              <a:off x="7070725" y="3144838"/>
              <a:ext cx="103188" cy="7938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51" name="îslîďè">
              <a:extLst>
                <a:ext uri="{FF2B5EF4-FFF2-40B4-BE49-F238E27FC236}">
                  <a16:creationId xmlns:a16="http://schemas.microsoft.com/office/drawing/2014/main" id="{B83FFC27-5F09-4196-80BF-7A724DEBA8DE}"/>
                </a:ext>
              </a:extLst>
            </p:cNvPr>
            <p:cNvSpPr/>
            <p:nvPr userDrawn="1"/>
          </p:nvSpPr>
          <p:spPr bwMode="auto">
            <a:xfrm>
              <a:off x="6919913" y="3365500"/>
              <a:ext cx="630238" cy="373063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52" name="îSľiḑe">
              <a:extLst>
                <a:ext uri="{FF2B5EF4-FFF2-40B4-BE49-F238E27FC236}">
                  <a16:creationId xmlns:a16="http://schemas.microsoft.com/office/drawing/2014/main" id="{8107D903-1D25-48EF-8568-1D05CA595CBE}"/>
                </a:ext>
              </a:extLst>
            </p:cNvPr>
            <p:cNvSpPr/>
            <p:nvPr userDrawn="1"/>
          </p:nvSpPr>
          <p:spPr bwMode="auto">
            <a:xfrm>
              <a:off x="4748213" y="1952625"/>
              <a:ext cx="2706688" cy="111125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53" name="íSļíḓè">
              <a:extLst>
                <a:ext uri="{FF2B5EF4-FFF2-40B4-BE49-F238E27FC236}">
                  <a16:creationId xmlns:a16="http://schemas.microsoft.com/office/drawing/2014/main" id="{07D4F4CD-7559-4DD8-9AA1-FC0E49095616}"/>
                </a:ext>
              </a:extLst>
            </p:cNvPr>
            <p:cNvSpPr/>
            <p:nvPr userDrawn="1"/>
          </p:nvSpPr>
          <p:spPr bwMode="auto">
            <a:xfrm>
              <a:off x="4625975" y="3521075"/>
              <a:ext cx="2946400" cy="223838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54" name="ïṧḻídé">
              <a:extLst>
                <a:ext uri="{FF2B5EF4-FFF2-40B4-BE49-F238E27FC236}">
                  <a16:creationId xmlns:a16="http://schemas.microsoft.com/office/drawing/2014/main" id="{6B3E522A-87EC-47CB-B706-8551808E4479}"/>
                </a:ext>
              </a:extLst>
            </p:cNvPr>
            <p:cNvSpPr/>
            <p:nvPr userDrawn="1"/>
          </p:nvSpPr>
          <p:spPr bwMode="auto">
            <a:xfrm>
              <a:off x="7265988" y="2019300"/>
              <a:ext cx="60325" cy="58738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55" name="iṧlïḋê">
              <a:extLst>
                <a:ext uri="{FF2B5EF4-FFF2-40B4-BE49-F238E27FC236}">
                  <a16:creationId xmlns:a16="http://schemas.microsoft.com/office/drawing/2014/main" id="{FD7F2B50-0576-4B48-BD67-409BDF61A3B4}"/>
                </a:ext>
              </a:extLst>
            </p:cNvPr>
            <p:cNvSpPr/>
            <p:nvPr userDrawn="1"/>
          </p:nvSpPr>
          <p:spPr bwMode="auto">
            <a:xfrm>
              <a:off x="7162800" y="2019300"/>
              <a:ext cx="60325" cy="58738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56" name="ïSḷîḍê">
              <a:extLst>
                <a:ext uri="{FF2B5EF4-FFF2-40B4-BE49-F238E27FC236}">
                  <a16:creationId xmlns:a16="http://schemas.microsoft.com/office/drawing/2014/main" id="{0A250E1E-80BB-4887-BF8C-BCF42B27425D}"/>
                </a:ext>
              </a:extLst>
            </p:cNvPr>
            <p:cNvSpPr/>
            <p:nvPr userDrawn="1"/>
          </p:nvSpPr>
          <p:spPr bwMode="auto">
            <a:xfrm>
              <a:off x="7059613" y="2019300"/>
              <a:ext cx="60325" cy="58738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57" name="íşlîḍe">
              <a:extLst>
                <a:ext uri="{FF2B5EF4-FFF2-40B4-BE49-F238E27FC236}">
                  <a16:creationId xmlns:a16="http://schemas.microsoft.com/office/drawing/2014/main" id="{BF9DF52F-9D83-4851-96C1-B1756C6635CA}"/>
                </a:ext>
              </a:extLst>
            </p:cNvPr>
            <p:cNvSpPr/>
            <p:nvPr userDrawn="1"/>
          </p:nvSpPr>
          <p:spPr bwMode="auto">
            <a:xfrm>
              <a:off x="4438650" y="2619375"/>
              <a:ext cx="741363" cy="1538288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58" name="îṧliḓe">
              <a:extLst>
                <a:ext uri="{FF2B5EF4-FFF2-40B4-BE49-F238E27FC236}">
                  <a16:creationId xmlns:a16="http://schemas.microsoft.com/office/drawing/2014/main" id="{9DE8548E-3E05-4B67-927D-31DC785333E5}"/>
                </a:ext>
              </a:extLst>
            </p:cNvPr>
            <p:cNvSpPr/>
            <p:nvPr userDrawn="1"/>
          </p:nvSpPr>
          <p:spPr bwMode="auto">
            <a:xfrm>
              <a:off x="4545013" y="2887663"/>
              <a:ext cx="457200" cy="95250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59" name="ïšľïḍê">
              <a:extLst>
                <a:ext uri="{FF2B5EF4-FFF2-40B4-BE49-F238E27FC236}">
                  <a16:creationId xmlns:a16="http://schemas.microsoft.com/office/drawing/2014/main" id="{9DDB46BA-311A-4A6B-957B-4EC8F71B0C47}"/>
                </a:ext>
              </a:extLst>
            </p:cNvPr>
            <p:cNvSpPr/>
            <p:nvPr userDrawn="1"/>
          </p:nvSpPr>
          <p:spPr bwMode="auto">
            <a:xfrm>
              <a:off x="4419600" y="3225800"/>
              <a:ext cx="454025" cy="96838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60" name="ïṡ1îḍe">
              <a:extLst>
                <a:ext uri="{FF2B5EF4-FFF2-40B4-BE49-F238E27FC236}">
                  <a16:creationId xmlns:a16="http://schemas.microsoft.com/office/drawing/2014/main" id="{2B840719-EFA3-4C12-8F06-BF63030F9294}"/>
                </a:ext>
              </a:extLst>
            </p:cNvPr>
            <p:cNvSpPr/>
            <p:nvPr userDrawn="1"/>
          </p:nvSpPr>
          <p:spPr bwMode="auto">
            <a:xfrm>
              <a:off x="4271963" y="3565525"/>
              <a:ext cx="465138" cy="95250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61" name="iṧḷídè">
              <a:extLst>
                <a:ext uri="{FF2B5EF4-FFF2-40B4-BE49-F238E27FC236}">
                  <a16:creationId xmlns:a16="http://schemas.microsoft.com/office/drawing/2014/main" id="{B11A465F-18FD-41B1-BBE5-D466DE4FBADA}"/>
                </a:ext>
              </a:extLst>
            </p:cNvPr>
            <p:cNvSpPr/>
            <p:nvPr userDrawn="1"/>
          </p:nvSpPr>
          <p:spPr bwMode="auto">
            <a:xfrm>
              <a:off x="4137025" y="3903663"/>
              <a:ext cx="449263" cy="95250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62" name="íṥļïďê">
              <a:extLst>
                <a:ext uri="{FF2B5EF4-FFF2-40B4-BE49-F238E27FC236}">
                  <a16:creationId xmlns:a16="http://schemas.microsoft.com/office/drawing/2014/main" id="{A5D40688-4178-488D-A401-C63E9F9901D1}"/>
                </a:ext>
              </a:extLst>
            </p:cNvPr>
            <p:cNvSpPr/>
            <p:nvPr userDrawn="1"/>
          </p:nvSpPr>
          <p:spPr bwMode="auto">
            <a:xfrm>
              <a:off x="6978650" y="2998788"/>
              <a:ext cx="919163" cy="1169988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63" name="iṡlîḑe">
              <a:extLst>
                <a:ext uri="{FF2B5EF4-FFF2-40B4-BE49-F238E27FC236}">
                  <a16:creationId xmlns:a16="http://schemas.microsoft.com/office/drawing/2014/main" id="{2CF9FD8F-7AB9-4413-BA6D-0AEC3AAA703B}"/>
                </a:ext>
              </a:extLst>
            </p:cNvPr>
            <p:cNvSpPr/>
            <p:nvPr userDrawn="1"/>
          </p:nvSpPr>
          <p:spPr bwMode="auto">
            <a:xfrm>
              <a:off x="7304088" y="3384550"/>
              <a:ext cx="515938" cy="692150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65" name="îşļïďê">
              <a:extLst>
                <a:ext uri="{FF2B5EF4-FFF2-40B4-BE49-F238E27FC236}">
                  <a16:creationId xmlns:a16="http://schemas.microsoft.com/office/drawing/2014/main" id="{0A260C92-F3B0-4023-85C8-AE243717C868}"/>
                </a:ext>
              </a:extLst>
            </p:cNvPr>
            <p:cNvSpPr/>
            <p:nvPr userDrawn="1"/>
          </p:nvSpPr>
          <p:spPr bwMode="auto">
            <a:xfrm>
              <a:off x="5035550" y="5718175"/>
              <a:ext cx="2116138" cy="165100"/>
            </a:xfrm>
            <a:custGeom>
              <a:avLst/>
              <a:gdLst>
                <a:gd name="T0" fmla="*/ 552 w 574"/>
                <a:gd name="T1" fmla="*/ 45 h 45"/>
                <a:gd name="T2" fmla="*/ 22 w 574"/>
                <a:gd name="T3" fmla="*/ 45 h 45"/>
                <a:gd name="T4" fmla="*/ 0 w 574"/>
                <a:gd name="T5" fmla="*/ 22 h 45"/>
                <a:gd name="T6" fmla="*/ 22 w 574"/>
                <a:gd name="T7" fmla="*/ 0 h 45"/>
                <a:gd name="T8" fmla="*/ 552 w 574"/>
                <a:gd name="T9" fmla="*/ 0 h 45"/>
                <a:gd name="T10" fmla="*/ 574 w 574"/>
                <a:gd name="T11" fmla="*/ 22 h 45"/>
                <a:gd name="T12" fmla="*/ 552 w 574"/>
                <a:gd name="T1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4" h="45">
                  <a:moveTo>
                    <a:pt x="552" y="45"/>
                  </a:moveTo>
                  <a:cubicBezTo>
                    <a:pt x="22" y="45"/>
                    <a:pt x="22" y="45"/>
                    <a:pt x="22" y="45"/>
                  </a:cubicBezTo>
                  <a:cubicBezTo>
                    <a:pt x="10" y="45"/>
                    <a:pt x="0" y="35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552" y="0"/>
                    <a:pt x="552" y="0"/>
                    <a:pt x="552" y="0"/>
                  </a:cubicBezTo>
                  <a:cubicBezTo>
                    <a:pt x="564" y="0"/>
                    <a:pt x="574" y="10"/>
                    <a:pt x="574" y="22"/>
                  </a:cubicBezTo>
                  <a:cubicBezTo>
                    <a:pt x="574" y="35"/>
                    <a:pt x="564" y="45"/>
                    <a:pt x="552" y="45"/>
                  </a:cubicBezTo>
                  <a:close/>
                </a:path>
              </a:pathLst>
            </a:cu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66" name="îšļiḍé">
              <a:extLst>
                <a:ext uri="{FF2B5EF4-FFF2-40B4-BE49-F238E27FC236}">
                  <a16:creationId xmlns:a16="http://schemas.microsoft.com/office/drawing/2014/main" id="{8C93FE08-C1DB-4C63-A6F7-045825FBC507}"/>
                </a:ext>
              </a:extLst>
            </p:cNvPr>
            <p:cNvSpPr/>
            <p:nvPr userDrawn="1"/>
          </p:nvSpPr>
          <p:spPr bwMode="auto">
            <a:xfrm>
              <a:off x="6083300" y="4378325"/>
              <a:ext cx="755650" cy="1222375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977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67" name="í$ḷïḑe">
              <a:extLst>
                <a:ext uri="{FF2B5EF4-FFF2-40B4-BE49-F238E27FC236}">
                  <a16:creationId xmlns:a16="http://schemas.microsoft.com/office/drawing/2014/main" id="{268228F1-6F0B-4E91-AE44-C2016832ECA0}"/>
                </a:ext>
              </a:extLst>
            </p:cNvPr>
            <p:cNvSpPr/>
            <p:nvPr userDrawn="1"/>
          </p:nvSpPr>
          <p:spPr bwMode="auto">
            <a:xfrm>
              <a:off x="6334125" y="5600700"/>
              <a:ext cx="474663" cy="184150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68" name="ís1îḓe">
              <a:extLst>
                <a:ext uri="{FF2B5EF4-FFF2-40B4-BE49-F238E27FC236}">
                  <a16:creationId xmlns:a16="http://schemas.microsoft.com/office/drawing/2014/main" id="{1397C844-D6C2-4182-B960-D55C92040818}"/>
                </a:ext>
              </a:extLst>
            </p:cNvPr>
            <p:cNvSpPr/>
            <p:nvPr userDrawn="1"/>
          </p:nvSpPr>
          <p:spPr bwMode="auto">
            <a:xfrm>
              <a:off x="5353050" y="4378325"/>
              <a:ext cx="755650" cy="1222375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rgbClr val="8977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69" name="îsḷïdè">
              <a:extLst>
                <a:ext uri="{FF2B5EF4-FFF2-40B4-BE49-F238E27FC236}">
                  <a16:creationId xmlns:a16="http://schemas.microsoft.com/office/drawing/2014/main" id="{C1840427-BBE8-46E9-9A0F-1A164B34FF92}"/>
                </a:ext>
              </a:extLst>
            </p:cNvPr>
            <p:cNvSpPr/>
            <p:nvPr userDrawn="1"/>
          </p:nvSpPr>
          <p:spPr bwMode="auto">
            <a:xfrm>
              <a:off x="6083300" y="4651375"/>
              <a:ext cx="611188" cy="949325"/>
            </a:xfrm>
            <a:custGeom>
              <a:avLst/>
              <a:gdLst>
                <a:gd name="T0" fmla="*/ 112 w 166"/>
                <a:gd name="T1" fmla="*/ 258 h 258"/>
                <a:gd name="T2" fmla="*/ 113 w 166"/>
                <a:gd name="T3" fmla="*/ 255 h 258"/>
                <a:gd name="T4" fmla="*/ 137 w 166"/>
                <a:gd name="T5" fmla="*/ 130 h 258"/>
                <a:gd name="T6" fmla="*/ 160 w 166"/>
                <a:gd name="T7" fmla="*/ 37 h 258"/>
                <a:gd name="T8" fmla="*/ 164 w 166"/>
                <a:gd name="T9" fmla="*/ 18 h 258"/>
                <a:gd name="T10" fmla="*/ 164 w 166"/>
                <a:gd name="T11" fmla="*/ 12 h 258"/>
                <a:gd name="T12" fmla="*/ 165 w 166"/>
                <a:gd name="T13" fmla="*/ 2 h 258"/>
                <a:gd name="T14" fmla="*/ 166 w 166"/>
                <a:gd name="T15" fmla="*/ 0 h 258"/>
                <a:gd name="T16" fmla="*/ 0 w 166"/>
                <a:gd name="T17" fmla="*/ 0 h 258"/>
                <a:gd name="T18" fmla="*/ 0 w 166"/>
                <a:gd name="T19" fmla="*/ 28 h 258"/>
                <a:gd name="T20" fmla="*/ 104 w 166"/>
                <a:gd name="T21" fmla="*/ 28 h 258"/>
                <a:gd name="T22" fmla="*/ 68 w 166"/>
                <a:gd name="T23" fmla="*/ 258 h 258"/>
                <a:gd name="T24" fmla="*/ 112 w 166"/>
                <a:gd name="T25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258">
                  <a:moveTo>
                    <a:pt x="112" y="258"/>
                  </a:moveTo>
                  <a:cubicBezTo>
                    <a:pt x="112" y="257"/>
                    <a:pt x="112" y="256"/>
                    <a:pt x="113" y="255"/>
                  </a:cubicBezTo>
                  <a:cubicBezTo>
                    <a:pt x="121" y="227"/>
                    <a:pt x="129" y="159"/>
                    <a:pt x="137" y="130"/>
                  </a:cubicBezTo>
                  <a:cubicBezTo>
                    <a:pt x="146" y="99"/>
                    <a:pt x="154" y="69"/>
                    <a:pt x="160" y="37"/>
                  </a:cubicBezTo>
                  <a:cubicBezTo>
                    <a:pt x="161" y="31"/>
                    <a:pt x="162" y="24"/>
                    <a:pt x="164" y="18"/>
                  </a:cubicBezTo>
                  <a:cubicBezTo>
                    <a:pt x="164" y="15"/>
                    <a:pt x="164" y="13"/>
                    <a:pt x="164" y="12"/>
                  </a:cubicBezTo>
                  <a:cubicBezTo>
                    <a:pt x="165" y="9"/>
                    <a:pt x="165" y="5"/>
                    <a:pt x="165" y="2"/>
                  </a:cubicBezTo>
                  <a:cubicBezTo>
                    <a:pt x="166" y="1"/>
                    <a:pt x="166" y="1"/>
                    <a:pt x="16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68" y="258"/>
                    <a:pt x="68" y="258"/>
                    <a:pt x="68" y="258"/>
                  </a:cubicBezTo>
                  <a:cubicBezTo>
                    <a:pt x="112" y="258"/>
                    <a:pt x="112" y="258"/>
                    <a:pt x="112" y="258"/>
                  </a:cubicBezTo>
                </a:path>
              </a:pathLst>
            </a:custGeom>
            <a:solidFill>
              <a:srgbClr val="635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70" name="işḷíďe">
              <a:extLst>
                <a:ext uri="{FF2B5EF4-FFF2-40B4-BE49-F238E27FC236}">
                  <a16:creationId xmlns:a16="http://schemas.microsoft.com/office/drawing/2014/main" id="{DF7F48BD-91E0-490D-B049-E7838B62C56D}"/>
                </a:ext>
              </a:extLst>
            </p:cNvPr>
            <p:cNvSpPr/>
            <p:nvPr userDrawn="1"/>
          </p:nvSpPr>
          <p:spPr bwMode="auto">
            <a:xfrm>
              <a:off x="5518150" y="4651375"/>
              <a:ext cx="590550" cy="949325"/>
            </a:xfrm>
            <a:custGeom>
              <a:avLst/>
              <a:gdLst>
                <a:gd name="T0" fmla="*/ 160 w 160"/>
                <a:gd name="T1" fmla="*/ 0 h 258"/>
                <a:gd name="T2" fmla="*/ 0 w 160"/>
                <a:gd name="T3" fmla="*/ 0 h 258"/>
                <a:gd name="T4" fmla="*/ 2 w 160"/>
                <a:gd name="T5" fmla="*/ 9 h 258"/>
                <a:gd name="T6" fmla="*/ 28 w 160"/>
                <a:gd name="T7" fmla="*/ 91 h 258"/>
                <a:gd name="T8" fmla="*/ 52 w 160"/>
                <a:gd name="T9" fmla="*/ 171 h 258"/>
                <a:gd name="T10" fmla="*/ 63 w 160"/>
                <a:gd name="T11" fmla="*/ 258 h 258"/>
                <a:gd name="T12" fmla="*/ 91 w 160"/>
                <a:gd name="T13" fmla="*/ 258 h 258"/>
                <a:gd name="T14" fmla="*/ 55 w 160"/>
                <a:gd name="T15" fmla="*/ 28 h 258"/>
                <a:gd name="T16" fmla="*/ 160 w 160"/>
                <a:gd name="T17" fmla="*/ 28 h 258"/>
                <a:gd name="T18" fmla="*/ 160 w 160"/>
                <a:gd name="T19" fmla="*/ 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258">
                  <a:moveTo>
                    <a:pt x="16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2" y="6"/>
                    <a:pt x="2" y="9"/>
                  </a:cubicBezTo>
                  <a:cubicBezTo>
                    <a:pt x="9" y="37"/>
                    <a:pt x="19" y="64"/>
                    <a:pt x="28" y="91"/>
                  </a:cubicBezTo>
                  <a:cubicBezTo>
                    <a:pt x="36" y="117"/>
                    <a:pt x="46" y="144"/>
                    <a:pt x="52" y="171"/>
                  </a:cubicBezTo>
                  <a:cubicBezTo>
                    <a:pt x="56" y="186"/>
                    <a:pt x="59" y="242"/>
                    <a:pt x="63" y="258"/>
                  </a:cubicBezTo>
                  <a:cubicBezTo>
                    <a:pt x="91" y="258"/>
                    <a:pt x="91" y="258"/>
                    <a:pt x="91" y="25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0" y="0"/>
                    <a:pt x="160" y="0"/>
                    <a:pt x="160" y="0"/>
                  </a:cubicBezTo>
                </a:path>
              </a:pathLst>
            </a:custGeom>
            <a:solidFill>
              <a:srgbClr val="635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71" name="ïṥļîdê">
              <a:extLst>
                <a:ext uri="{FF2B5EF4-FFF2-40B4-BE49-F238E27FC236}">
                  <a16:creationId xmlns:a16="http://schemas.microsoft.com/office/drawing/2014/main" id="{135D0D4C-D18D-4EA1-8E4B-F3F3E061127A}"/>
                </a:ext>
              </a:extLst>
            </p:cNvPr>
            <p:cNvSpPr/>
            <p:nvPr userDrawn="1"/>
          </p:nvSpPr>
          <p:spPr bwMode="auto">
            <a:xfrm>
              <a:off x="5634038" y="2728913"/>
              <a:ext cx="190500" cy="284163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72" name="isḻîḋè">
              <a:extLst>
                <a:ext uri="{FF2B5EF4-FFF2-40B4-BE49-F238E27FC236}">
                  <a16:creationId xmlns:a16="http://schemas.microsoft.com/office/drawing/2014/main" id="{711F711D-E110-421D-933F-4C10A1A62617}"/>
                </a:ext>
              </a:extLst>
            </p:cNvPr>
            <p:cNvSpPr/>
            <p:nvPr userDrawn="1"/>
          </p:nvSpPr>
          <p:spPr bwMode="auto">
            <a:xfrm>
              <a:off x="5676900" y="2798763"/>
              <a:ext cx="147638" cy="177800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73" name="íṥľïḓê">
              <a:extLst>
                <a:ext uri="{FF2B5EF4-FFF2-40B4-BE49-F238E27FC236}">
                  <a16:creationId xmlns:a16="http://schemas.microsoft.com/office/drawing/2014/main" id="{7070EA34-2784-4362-8DF0-EA6726DC0BD9}"/>
                </a:ext>
              </a:extLst>
            </p:cNvPr>
            <p:cNvSpPr/>
            <p:nvPr userDrawn="1"/>
          </p:nvSpPr>
          <p:spPr bwMode="auto">
            <a:xfrm>
              <a:off x="5707063" y="2803525"/>
              <a:ext cx="117475" cy="80963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74" name="íş1íḋê">
              <a:extLst>
                <a:ext uri="{FF2B5EF4-FFF2-40B4-BE49-F238E27FC236}">
                  <a16:creationId xmlns:a16="http://schemas.microsoft.com/office/drawing/2014/main" id="{491A23F2-4EB6-4B83-9630-37BEFCB7E628}"/>
                </a:ext>
              </a:extLst>
            </p:cNvPr>
            <p:cNvSpPr/>
            <p:nvPr userDrawn="1"/>
          </p:nvSpPr>
          <p:spPr bwMode="auto">
            <a:xfrm>
              <a:off x="6418263" y="2795588"/>
              <a:ext cx="214313" cy="287338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75" name="íṧḷíďè">
              <a:extLst>
                <a:ext uri="{FF2B5EF4-FFF2-40B4-BE49-F238E27FC236}">
                  <a16:creationId xmlns:a16="http://schemas.microsoft.com/office/drawing/2014/main" id="{322F4DD9-730D-4544-A7DE-3350831769B1}"/>
                </a:ext>
              </a:extLst>
            </p:cNvPr>
            <p:cNvSpPr/>
            <p:nvPr userDrawn="1"/>
          </p:nvSpPr>
          <p:spPr bwMode="auto">
            <a:xfrm>
              <a:off x="6418263" y="2865438"/>
              <a:ext cx="173038" cy="176213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76" name="ïşlíďe">
              <a:extLst>
                <a:ext uri="{FF2B5EF4-FFF2-40B4-BE49-F238E27FC236}">
                  <a16:creationId xmlns:a16="http://schemas.microsoft.com/office/drawing/2014/main" id="{1DB26175-BBC7-4751-8986-01AC218C0414}"/>
                </a:ext>
              </a:extLst>
            </p:cNvPr>
            <p:cNvSpPr/>
            <p:nvPr userDrawn="1"/>
          </p:nvSpPr>
          <p:spPr bwMode="auto">
            <a:xfrm>
              <a:off x="6434138" y="2873375"/>
              <a:ext cx="123825" cy="61913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77" name="íṧ1iḍé">
              <a:extLst>
                <a:ext uri="{FF2B5EF4-FFF2-40B4-BE49-F238E27FC236}">
                  <a16:creationId xmlns:a16="http://schemas.microsoft.com/office/drawing/2014/main" id="{39926ECE-6B6B-4858-B85D-CBDFEBE5E3E2}"/>
                </a:ext>
              </a:extLst>
            </p:cNvPr>
            <p:cNvSpPr/>
            <p:nvPr userDrawn="1"/>
          </p:nvSpPr>
          <p:spPr bwMode="auto">
            <a:xfrm>
              <a:off x="6019800" y="3116263"/>
              <a:ext cx="180975" cy="319088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78" name="íSḷíḍé">
              <a:extLst>
                <a:ext uri="{FF2B5EF4-FFF2-40B4-BE49-F238E27FC236}">
                  <a16:creationId xmlns:a16="http://schemas.microsoft.com/office/drawing/2014/main" id="{543C7DE3-45FE-4694-A597-44516AF0D109}"/>
                </a:ext>
              </a:extLst>
            </p:cNvPr>
            <p:cNvSpPr/>
            <p:nvPr userDrawn="1"/>
          </p:nvSpPr>
          <p:spPr bwMode="auto">
            <a:xfrm>
              <a:off x="6019800" y="3116263"/>
              <a:ext cx="180975" cy="319088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79" name="ï$lïďê">
              <a:extLst>
                <a:ext uri="{FF2B5EF4-FFF2-40B4-BE49-F238E27FC236}">
                  <a16:creationId xmlns:a16="http://schemas.microsoft.com/office/drawing/2014/main" id="{56903C60-43D1-41B4-A06B-5D4321B26180}"/>
                </a:ext>
              </a:extLst>
            </p:cNvPr>
            <p:cNvSpPr/>
            <p:nvPr userDrawn="1"/>
          </p:nvSpPr>
          <p:spPr bwMode="auto">
            <a:xfrm>
              <a:off x="6024563" y="3155950"/>
              <a:ext cx="176213" cy="88900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80" name="iṩlïḍe">
              <a:extLst>
                <a:ext uri="{FF2B5EF4-FFF2-40B4-BE49-F238E27FC236}">
                  <a16:creationId xmlns:a16="http://schemas.microsoft.com/office/drawing/2014/main" id="{58D298C8-779C-40AB-AEB2-79554B903AA5}"/>
                </a:ext>
              </a:extLst>
            </p:cNvPr>
            <p:cNvSpPr/>
            <p:nvPr userDrawn="1"/>
          </p:nvSpPr>
          <p:spPr bwMode="auto">
            <a:xfrm>
              <a:off x="5780088" y="2468563"/>
              <a:ext cx="723900" cy="784225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81" name="iš1íḓè">
              <a:extLst>
                <a:ext uri="{FF2B5EF4-FFF2-40B4-BE49-F238E27FC236}">
                  <a16:creationId xmlns:a16="http://schemas.microsoft.com/office/drawing/2014/main" id="{54D6F5CC-D071-4394-BC18-281B7DFF3181}"/>
                </a:ext>
              </a:extLst>
            </p:cNvPr>
            <p:cNvSpPr/>
            <p:nvPr userDrawn="1"/>
          </p:nvSpPr>
          <p:spPr bwMode="auto">
            <a:xfrm>
              <a:off x="5780088" y="2644775"/>
              <a:ext cx="4763" cy="103188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82" name="işļíḍê">
              <a:extLst>
                <a:ext uri="{FF2B5EF4-FFF2-40B4-BE49-F238E27FC236}">
                  <a16:creationId xmlns:a16="http://schemas.microsoft.com/office/drawing/2014/main" id="{3218969E-AA7B-40DC-8260-8CE831764568}"/>
                </a:ext>
              </a:extLst>
            </p:cNvPr>
            <p:cNvSpPr/>
            <p:nvPr userDrawn="1"/>
          </p:nvSpPr>
          <p:spPr bwMode="auto">
            <a:xfrm>
              <a:off x="5570538" y="2301875"/>
              <a:ext cx="1014413" cy="971550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B572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83" name="ïṡļíḋe">
              <a:extLst>
                <a:ext uri="{FF2B5EF4-FFF2-40B4-BE49-F238E27FC236}">
                  <a16:creationId xmlns:a16="http://schemas.microsoft.com/office/drawing/2014/main" id="{C315C162-743C-4C8A-A730-B6F554292C8F}"/>
                </a:ext>
              </a:extLst>
            </p:cNvPr>
            <p:cNvSpPr/>
            <p:nvPr userDrawn="1"/>
          </p:nvSpPr>
          <p:spPr bwMode="auto">
            <a:xfrm>
              <a:off x="5676900" y="2189163"/>
              <a:ext cx="860425" cy="717550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B572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84" name="işľiḍê">
              <a:extLst>
                <a:ext uri="{FF2B5EF4-FFF2-40B4-BE49-F238E27FC236}">
                  <a16:creationId xmlns:a16="http://schemas.microsoft.com/office/drawing/2014/main" id="{681D4D48-80AB-4D9A-81C9-D092F448528A}"/>
                </a:ext>
              </a:extLst>
            </p:cNvPr>
            <p:cNvSpPr/>
            <p:nvPr userDrawn="1"/>
          </p:nvSpPr>
          <p:spPr bwMode="auto">
            <a:xfrm>
              <a:off x="5411788" y="3370263"/>
              <a:ext cx="1390650" cy="784225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85" name="işḻíḍé">
              <a:extLst>
                <a:ext uri="{FF2B5EF4-FFF2-40B4-BE49-F238E27FC236}">
                  <a16:creationId xmlns:a16="http://schemas.microsoft.com/office/drawing/2014/main" id="{1ADB9D3C-96A2-46FB-A786-A013523138CA}"/>
                </a:ext>
              </a:extLst>
            </p:cNvPr>
            <p:cNvSpPr/>
            <p:nvPr userDrawn="1"/>
          </p:nvSpPr>
          <p:spPr bwMode="auto">
            <a:xfrm>
              <a:off x="5611813" y="3451225"/>
              <a:ext cx="1001713" cy="1181100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86" name="ïṣľïḓè">
              <a:extLst>
                <a:ext uri="{FF2B5EF4-FFF2-40B4-BE49-F238E27FC236}">
                  <a16:creationId xmlns:a16="http://schemas.microsoft.com/office/drawing/2014/main" id="{20762A78-0255-406C-BC46-61DC0D1674CB}"/>
                </a:ext>
              </a:extLst>
            </p:cNvPr>
            <p:cNvSpPr/>
            <p:nvPr userDrawn="1"/>
          </p:nvSpPr>
          <p:spPr bwMode="auto">
            <a:xfrm>
              <a:off x="5659438" y="3451225"/>
              <a:ext cx="906463" cy="1111250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87" name="îšlídè">
              <a:extLst>
                <a:ext uri="{FF2B5EF4-FFF2-40B4-BE49-F238E27FC236}">
                  <a16:creationId xmlns:a16="http://schemas.microsoft.com/office/drawing/2014/main" id="{26DA3A76-D916-4ACF-BB4B-09703FA851A3}"/>
                </a:ext>
              </a:extLst>
            </p:cNvPr>
            <p:cNvSpPr/>
            <p:nvPr userDrawn="1"/>
          </p:nvSpPr>
          <p:spPr bwMode="auto">
            <a:xfrm>
              <a:off x="5643563" y="2725738"/>
              <a:ext cx="908050" cy="588963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88" name="ïṩḷídé">
              <a:extLst>
                <a:ext uri="{FF2B5EF4-FFF2-40B4-BE49-F238E27FC236}">
                  <a16:creationId xmlns:a16="http://schemas.microsoft.com/office/drawing/2014/main" id="{A677A730-02C2-487B-8977-4809A9059ABE}"/>
                </a:ext>
              </a:extLst>
            </p:cNvPr>
            <p:cNvSpPr/>
            <p:nvPr userDrawn="1"/>
          </p:nvSpPr>
          <p:spPr bwMode="auto">
            <a:xfrm>
              <a:off x="5703888" y="2747963"/>
              <a:ext cx="792163" cy="515938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89" name="íŝliḓè">
              <a:extLst>
                <a:ext uri="{FF2B5EF4-FFF2-40B4-BE49-F238E27FC236}">
                  <a16:creationId xmlns:a16="http://schemas.microsoft.com/office/drawing/2014/main" id="{DD6D326A-2354-4C03-AB6B-49C16EF157C8}"/>
                </a:ext>
              </a:extLst>
            </p:cNvPr>
            <p:cNvSpPr/>
            <p:nvPr userDrawn="1"/>
          </p:nvSpPr>
          <p:spPr bwMode="auto">
            <a:xfrm>
              <a:off x="5508625" y="4651375"/>
              <a:ext cx="1171575" cy="274638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90" name="ïSľíḋê">
              <a:extLst>
                <a:ext uri="{FF2B5EF4-FFF2-40B4-BE49-F238E27FC236}">
                  <a16:creationId xmlns:a16="http://schemas.microsoft.com/office/drawing/2014/main" id="{40A34E5A-796D-4746-AB6A-658AAC78E751}"/>
                </a:ext>
              </a:extLst>
            </p:cNvPr>
            <p:cNvSpPr/>
            <p:nvPr userDrawn="1"/>
          </p:nvSpPr>
          <p:spPr bwMode="auto">
            <a:xfrm>
              <a:off x="5643563" y="4651375"/>
              <a:ext cx="896938" cy="69850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91" name="íšļiḑê">
              <a:extLst>
                <a:ext uri="{FF2B5EF4-FFF2-40B4-BE49-F238E27FC236}">
                  <a16:creationId xmlns:a16="http://schemas.microsoft.com/office/drawing/2014/main" id="{BF761B53-9819-4981-B06C-5F03C421569A}"/>
                </a:ext>
              </a:extLst>
            </p:cNvPr>
            <p:cNvSpPr/>
            <p:nvPr userDrawn="1"/>
          </p:nvSpPr>
          <p:spPr bwMode="auto">
            <a:xfrm>
              <a:off x="6035675" y="4926013"/>
              <a:ext cx="109538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92" name="îşļiḓè">
              <a:extLst>
                <a:ext uri="{FF2B5EF4-FFF2-40B4-BE49-F238E27FC236}">
                  <a16:creationId xmlns:a16="http://schemas.microsoft.com/office/drawing/2014/main" id="{75FEF938-8AAF-47B1-9CFA-F7B86EBBBE0C}"/>
                </a:ext>
              </a:extLst>
            </p:cNvPr>
            <p:cNvSpPr/>
            <p:nvPr userDrawn="1"/>
          </p:nvSpPr>
          <p:spPr bwMode="auto">
            <a:xfrm>
              <a:off x="5518150" y="4816475"/>
              <a:ext cx="1150938" cy="109538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293" name="ïṥḻïḋê">
              <a:extLst>
                <a:ext uri="{FF2B5EF4-FFF2-40B4-BE49-F238E27FC236}">
                  <a16:creationId xmlns:a16="http://schemas.microsoft.com/office/drawing/2014/main" id="{761C5328-12F1-4870-9D49-FC4F1FD7F95C}"/>
                </a:ext>
              </a:extLst>
            </p:cNvPr>
            <p:cNvSpPr/>
            <p:nvPr userDrawn="1"/>
          </p:nvSpPr>
          <p:spPr bwMode="auto">
            <a:xfrm>
              <a:off x="6005513" y="4116388"/>
              <a:ext cx="173038" cy="1495425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496" name="işḻíḓé">
              <a:extLst>
                <a:ext uri="{FF2B5EF4-FFF2-40B4-BE49-F238E27FC236}">
                  <a16:creationId xmlns:a16="http://schemas.microsoft.com/office/drawing/2014/main" id="{800FAB39-622F-44D6-8F88-A5A46160EC15}"/>
                </a:ext>
              </a:extLst>
            </p:cNvPr>
            <p:cNvSpPr/>
            <p:nvPr userDrawn="1"/>
          </p:nvSpPr>
          <p:spPr bwMode="auto">
            <a:xfrm>
              <a:off x="6030913" y="2868613"/>
              <a:ext cx="122238" cy="1270000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497" name="íṧḷidé">
              <a:extLst>
                <a:ext uri="{FF2B5EF4-FFF2-40B4-BE49-F238E27FC236}">
                  <a16:creationId xmlns:a16="http://schemas.microsoft.com/office/drawing/2014/main" id="{ABDDBA1D-771A-4AEA-A275-7714B58A5CDE}"/>
                </a:ext>
              </a:extLst>
            </p:cNvPr>
            <p:cNvSpPr/>
            <p:nvPr userDrawn="1"/>
          </p:nvSpPr>
          <p:spPr bwMode="auto">
            <a:xfrm>
              <a:off x="5383213" y="5600700"/>
              <a:ext cx="471488" cy="184150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498" name="i$ḷîde">
              <a:extLst>
                <a:ext uri="{FF2B5EF4-FFF2-40B4-BE49-F238E27FC236}">
                  <a16:creationId xmlns:a16="http://schemas.microsoft.com/office/drawing/2014/main" id="{9464BA44-5546-4BFF-81AB-C9EB3BBBDEC1}"/>
                </a:ext>
              </a:extLst>
            </p:cNvPr>
            <p:cNvSpPr/>
            <p:nvPr userDrawn="1"/>
          </p:nvSpPr>
          <p:spPr bwMode="auto">
            <a:xfrm>
              <a:off x="5268913" y="4138613"/>
              <a:ext cx="825500" cy="825500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499" name="ïşḻïḓe">
              <a:extLst>
                <a:ext uri="{FF2B5EF4-FFF2-40B4-BE49-F238E27FC236}">
                  <a16:creationId xmlns:a16="http://schemas.microsoft.com/office/drawing/2014/main" id="{1901A403-0731-4E76-92DF-03729A93EFB7}"/>
                </a:ext>
              </a:extLst>
            </p:cNvPr>
            <p:cNvSpPr/>
            <p:nvPr userDrawn="1"/>
          </p:nvSpPr>
          <p:spPr bwMode="auto">
            <a:xfrm>
              <a:off x="6119813" y="4138613"/>
              <a:ext cx="822325" cy="825500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500" name="iṩḻïdè">
              <a:extLst>
                <a:ext uri="{FF2B5EF4-FFF2-40B4-BE49-F238E27FC236}">
                  <a16:creationId xmlns:a16="http://schemas.microsoft.com/office/drawing/2014/main" id="{EF7DB912-9B49-41EB-B054-0F306C4A4812}"/>
                </a:ext>
              </a:extLst>
            </p:cNvPr>
            <p:cNvSpPr/>
            <p:nvPr userDrawn="1"/>
          </p:nvSpPr>
          <p:spPr bwMode="auto">
            <a:xfrm>
              <a:off x="5994400" y="5611813"/>
              <a:ext cx="200025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501" name="íṧḻíḋe">
              <a:extLst>
                <a:ext uri="{FF2B5EF4-FFF2-40B4-BE49-F238E27FC236}">
                  <a16:creationId xmlns:a16="http://schemas.microsoft.com/office/drawing/2014/main" id="{33CCAEBA-612A-42AC-BA81-AE941F910FCA}"/>
                </a:ext>
              </a:extLst>
            </p:cNvPr>
            <p:cNvSpPr/>
            <p:nvPr userDrawn="1"/>
          </p:nvSpPr>
          <p:spPr bwMode="auto">
            <a:xfrm>
              <a:off x="5994400" y="4054475"/>
              <a:ext cx="200025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502" name="ïş1ïḓê">
              <a:extLst>
                <a:ext uri="{FF2B5EF4-FFF2-40B4-BE49-F238E27FC236}">
                  <a16:creationId xmlns:a16="http://schemas.microsoft.com/office/drawing/2014/main" id="{5B972618-293F-4550-A1A5-6F1ADEBFF5CA}"/>
                </a:ext>
              </a:extLst>
            </p:cNvPr>
            <p:cNvSpPr/>
            <p:nvPr userDrawn="1"/>
          </p:nvSpPr>
          <p:spPr bwMode="auto">
            <a:xfrm>
              <a:off x="5659438" y="5611813"/>
              <a:ext cx="203200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503" name="iṥḷïdé">
              <a:extLst>
                <a:ext uri="{FF2B5EF4-FFF2-40B4-BE49-F238E27FC236}">
                  <a16:creationId xmlns:a16="http://schemas.microsoft.com/office/drawing/2014/main" id="{A33E5FAA-7EE3-4655-8B96-50B25FCD10FB}"/>
                </a:ext>
              </a:extLst>
            </p:cNvPr>
            <p:cNvSpPr/>
            <p:nvPr userDrawn="1"/>
          </p:nvSpPr>
          <p:spPr bwMode="auto">
            <a:xfrm>
              <a:off x="6326188" y="5611813"/>
              <a:ext cx="203200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  <p:sp>
          <p:nvSpPr>
            <p:cNvPr id="504" name="îṩľîde">
              <a:extLst>
                <a:ext uri="{FF2B5EF4-FFF2-40B4-BE49-F238E27FC236}">
                  <a16:creationId xmlns:a16="http://schemas.microsoft.com/office/drawing/2014/main" id="{79DA4745-2D3A-467A-ADB1-48DE97A435A2}"/>
                </a:ext>
              </a:extLst>
            </p:cNvPr>
            <p:cNvSpPr/>
            <p:nvPr userDrawn="1"/>
          </p:nvSpPr>
          <p:spPr bwMode="auto">
            <a:xfrm>
              <a:off x="5788025" y="5600700"/>
              <a:ext cx="612775" cy="69850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</a:endParaRPr>
            </a:p>
          </p:txBody>
        </p:sp>
      </p:grp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487784" y="4225335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87784" y="3929064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487785" y="1189668"/>
            <a:ext cx="4470400" cy="2263775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301050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TW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TW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64C0B4-EC1E-4FC9-B104-936E49C44DDA}" type="slidenum">
              <a:rPr lang="zh-TW" altLang="en-US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44244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 bwMode="white">
          <a:xfrm>
            <a:off x="0" y="5971032"/>
            <a:ext cx="12192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-12192" y="6053328"/>
            <a:ext cx="2999232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3145536" y="6044184"/>
            <a:ext cx="9046464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8" name="標題 7"/>
          <p:cNvSpPr>
            <a:spLocks noGrp="1"/>
          </p:cNvSpPr>
          <p:nvPr>
            <p:ph type="ctrTitle"/>
          </p:nvPr>
        </p:nvSpPr>
        <p:spPr>
          <a:xfrm>
            <a:off x="3149600" y="4038600"/>
            <a:ext cx="8636000" cy="18288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kumimoji="0" lang="zh-TW" altLang="en-US" smtClean="0"/>
              <a:t>按一下以編輯母片標題樣式</a:t>
            </a:r>
            <a:endParaRPr kumimoji="0" lang="en-US"/>
          </a:p>
        </p:txBody>
      </p:sp>
      <p:sp>
        <p:nvSpPr>
          <p:cNvPr id="9" name="副標題 8"/>
          <p:cNvSpPr>
            <a:spLocks noGrp="1"/>
          </p:cNvSpPr>
          <p:nvPr>
            <p:ph type="subTitle" idx="1"/>
          </p:nvPr>
        </p:nvSpPr>
        <p:spPr>
          <a:xfrm>
            <a:off x="3149600" y="6050037"/>
            <a:ext cx="89408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zh-TW" altLang="en-US" smtClean="0"/>
              <a:t>按一下以編輯母片副標題樣式</a:t>
            </a:r>
            <a:endParaRPr kumimoji="0" lang="en-US"/>
          </a:p>
        </p:txBody>
      </p:sp>
      <p:sp>
        <p:nvSpPr>
          <p:cNvPr id="28" name="日期版面配置區 27"/>
          <p:cNvSpPr>
            <a:spLocks noGrp="1"/>
          </p:cNvSpPr>
          <p:nvPr>
            <p:ph type="dt" sz="half" idx="10"/>
          </p:nvPr>
        </p:nvSpPr>
        <p:spPr>
          <a:xfrm>
            <a:off x="101600" y="6068699"/>
            <a:ext cx="2743200" cy="68580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</a:lstStyle>
          <a:p>
            <a:fld id="{B5EBA558-07F9-4255-BA37-F47DCA9FDA64}" type="datetime1">
              <a:rPr lang="zh-TW" altLang="en-US" smtClean="0"/>
              <a:t>2021/10/6</a:t>
            </a:fld>
            <a:endParaRPr lang="zh-TW" altLang="en-US"/>
          </a:p>
        </p:txBody>
      </p:sp>
      <p:sp>
        <p:nvSpPr>
          <p:cNvPr id="17" name="頁尾版面配置區 16"/>
          <p:cNvSpPr>
            <a:spLocks noGrp="1"/>
          </p:cNvSpPr>
          <p:nvPr>
            <p:ph type="ftr" sz="quarter" idx="11"/>
          </p:nvPr>
        </p:nvSpPr>
        <p:spPr>
          <a:xfrm>
            <a:off x="2780524" y="236539"/>
            <a:ext cx="782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endParaRPr lang="zh-TW" altLang="en-US"/>
          </a:p>
        </p:txBody>
      </p:sp>
      <p:sp>
        <p:nvSpPr>
          <p:cNvPr id="29" name="投影片編號版面配置區 28"/>
          <p:cNvSpPr>
            <a:spLocks noGrp="1"/>
          </p:cNvSpPr>
          <p:nvPr>
            <p:ph type="sldNum" sz="quarter" idx="12"/>
          </p:nvPr>
        </p:nvSpPr>
        <p:spPr>
          <a:xfrm>
            <a:off x="10668000" y="228600"/>
            <a:ext cx="11176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354651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16864" y="228600"/>
            <a:ext cx="10871200" cy="990600"/>
          </a:xfrm>
        </p:spPr>
        <p:txBody>
          <a:bodyPr/>
          <a:lstStyle/>
          <a:p>
            <a:r>
              <a:rPr kumimoji="0" lang="zh-TW" altLang="en-US" smtClean="0"/>
              <a:t>按一下以編輯母片標題樣式</a:t>
            </a:r>
            <a:endParaRPr kumimoji="0" 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40CE6-D919-4C3E-A2AA-5BBC8A33722C}" type="datetime1">
              <a:rPr lang="zh-TW" altLang="en-US" smtClean="0"/>
              <a:t>2021/10/6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8" name="內容版面配置區 7"/>
          <p:cNvSpPr>
            <a:spLocks noGrp="1"/>
          </p:cNvSpPr>
          <p:nvPr>
            <p:ph sz="quarter" idx="1"/>
          </p:nvPr>
        </p:nvSpPr>
        <p:spPr>
          <a:xfrm>
            <a:off x="816864" y="1600200"/>
            <a:ext cx="10871200" cy="4495800"/>
          </a:xfrm>
        </p:spPr>
        <p:txBody>
          <a:bodyPr>
            <a:normAutofit/>
          </a:bodyPr>
          <a:lstStyle>
            <a:lvl1pPr marL="320040" indent="-320040">
              <a:buFont typeface="Wingdings" panose="05000000000000000000" pitchFamily="2" charset="2"/>
              <a:buChar char="l"/>
              <a:defRPr sz="2000"/>
            </a:lvl1pPr>
            <a:lvl2pPr marL="640080" indent="-274320">
              <a:buFont typeface="Wingdings" panose="05000000000000000000" pitchFamily="2" charset="2"/>
              <a:buChar char="l"/>
              <a:defRPr sz="2000"/>
            </a:lvl2pPr>
            <a:lvl3pPr marL="914400" indent="-228600">
              <a:buFont typeface="Wingdings" panose="05000000000000000000" pitchFamily="2" charset="2"/>
              <a:buChar char="l"/>
              <a:defRPr sz="2000"/>
            </a:lvl3pPr>
            <a:lvl4pPr marL="1371600" indent="-228600">
              <a:buFont typeface="Wingdings" panose="05000000000000000000" pitchFamily="2" charset="2"/>
              <a:buChar char="l"/>
              <a:defRPr sz="2000"/>
            </a:lvl4pPr>
            <a:lvl5pPr marL="1828800" indent="-228600">
              <a:buFont typeface="Wingdings" panose="05000000000000000000" pitchFamily="2" charset="2"/>
              <a:buChar char="l"/>
              <a:defRPr sz="2000"/>
            </a:lvl5pPr>
          </a:lstStyle>
          <a:p>
            <a:pPr lvl="0" eaLnBrk="1" latinLnBrk="0" hangingPunct="1"/>
            <a:r>
              <a:rPr lang="zh-TW" altLang="en-US" dirty="0" smtClean="0"/>
              <a:t>按一下以編輯母片文字樣式</a:t>
            </a:r>
          </a:p>
          <a:p>
            <a:pPr lvl="1" eaLnBrk="1" latinLnBrk="0" hangingPunct="1"/>
            <a:r>
              <a:rPr lang="zh-TW" altLang="en-US" dirty="0" smtClean="0"/>
              <a:t>第二層</a:t>
            </a:r>
          </a:p>
          <a:p>
            <a:pPr lvl="2" eaLnBrk="1" latinLnBrk="0" hangingPunct="1"/>
            <a:r>
              <a:rPr lang="zh-TW" altLang="en-US" dirty="0" smtClean="0"/>
              <a:t>第三層</a:t>
            </a:r>
          </a:p>
          <a:p>
            <a:pPr lvl="3" eaLnBrk="1" latinLnBrk="0" hangingPunct="1"/>
            <a:r>
              <a:rPr lang="zh-TW" altLang="en-US" dirty="0" smtClean="0"/>
              <a:t>第四層</a:t>
            </a:r>
          </a:p>
          <a:p>
            <a:pPr lvl="4" eaLnBrk="1" latinLnBrk="0" hangingPunct="1"/>
            <a:r>
              <a:rPr lang="zh-TW" altLang="en-US" dirty="0" smtClean="0"/>
              <a:t>第五層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16912207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章節標題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1828801" y="2743200"/>
            <a:ext cx="9497484" cy="1673225"/>
          </a:xfrm>
        </p:spPr>
        <p:txBody>
          <a:bodyPr anchor="t"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zh-TW" altLang="en-US" smtClean="0"/>
              <a:t>按一下以編輯母片文字樣式</a:t>
            </a:r>
          </a:p>
        </p:txBody>
      </p:sp>
      <p:sp>
        <p:nvSpPr>
          <p:cNvPr id="7" name="矩形 6"/>
          <p:cNvSpPr/>
          <p:nvPr/>
        </p:nvSpPr>
        <p:spPr bwMode="white">
          <a:xfrm>
            <a:off x="0" y="1524000"/>
            <a:ext cx="12192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1600200"/>
            <a:ext cx="17272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1828800" y="1600200"/>
            <a:ext cx="103632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828800" y="1600200"/>
            <a:ext cx="1016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kumimoji="0" lang="zh-TW" altLang="en-US" smtClean="0"/>
              <a:t>按一下以編輯母片標題樣式</a:t>
            </a:r>
            <a:endParaRPr kumimoji="0" lang="en-US"/>
          </a:p>
        </p:txBody>
      </p:sp>
      <p:sp>
        <p:nvSpPr>
          <p:cNvPr id="12" name="日期版面配置區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49036-72FA-4225-BD05-3F2000734170}" type="datetime1">
              <a:rPr lang="zh-TW" altLang="en-US" smtClean="0"/>
              <a:t>2021/10/6</a:t>
            </a:fld>
            <a:endParaRPr lang="zh-TW" altLang="en-US"/>
          </a:p>
        </p:txBody>
      </p:sp>
      <p:sp>
        <p:nvSpPr>
          <p:cNvPr id="13" name="投影片編號版面配置區 12"/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727200" cy="701676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14" name="頁尾版面配置區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3411735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zh-TW" altLang="en-US" smtClean="0"/>
              <a:t>按一下以編輯母片標題樣式</a:t>
            </a:r>
            <a:endParaRPr kumimoji="0" lang="en-US"/>
          </a:p>
        </p:txBody>
      </p:sp>
      <p:sp>
        <p:nvSpPr>
          <p:cNvPr id="9" name="內容版面配置區 8"/>
          <p:cNvSpPr>
            <a:spLocks noGrp="1"/>
          </p:cNvSpPr>
          <p:nvPr>
            <p:ph sz="quarter" idx="1"/>
          </p:nvPr>
        </p:nvSpPr>
        <p:spPr>
          <a:xfrm>
            <a:off x="812800" y="1589567"/>
            <a:ext cx="5181600" cy="4572000"/>
          </a:xfrm>
        </p:spPr>
        <p:txBody>
          <a:bodyPr/>
          <a:lstStyle>
            <a:lvl1pPr marL="320040" indent="-320040">
              <a:buFont typeface="Wingdings" panose="05000000000000000000" pitchFamily="2" charset="2"/>
              <a:buChar char="l"/>
              <a:defRPr/>
            </a:lvl1pPr>
            <a:lvl2pPr marL="640080" indent="-274320">
              <a:buFont typeface="Wingdings" panose="05000000000000000000" pitchFamily="2" charset="2"/>
              <a:buChar char="l"/>
              <a:defRPr/>
            </a:lvl2pPr>
            <a:lvl3pPr marL="914400" indent="-228600">
              <a:buFont typeface="Wingdings" panose="05000000000000000000" pitchFamily="2" charset="2"/>
              <a:buChar char="l"/>
              <a:defRPr/>
            </a:lvl3pPr>
            <a:lvl4pPr marL="1371600" indent="-228600">
              <a:buFont typeface="Wingdings" panose="05000000000000000000" pitchFamily="2" charset="2"/>
              <a:buChar char="l"/>
              <a:defRPr/>
            </a:lvl4pPr>
            <a:lvl5pPr marL="1828800" indent="-228600">
              <a:buFont typeface="Wingdings" panose="05000000000000000000" pitchFamily="2" charset="2"/>
              <a:buChar char="l"/>
              <a:defRPr/>
            </a:lvl5pPr>
          </a:lstStyle>
          <a:p>
            <a:pPr lvl="0" eaLnBrk="1" latinLnBrk="0" hangingPunct="1"/>
            <a:r>
              <a:rPr lang="zh-TW" altLang="en-US" dirty="0" smtClean="0"/>
              <a:t>按一下以編輯母片文字樣式</a:t>
            </a:r>
          </a:p>
          <a:p>
            <a:pPr lvl="1" eaLnBrk="1" latinLnBrk="0" hangingPunct="1"/>
            <a:r>
              <a:rPr lang="zh-TW" altLang="en-US" dirty="0" smtClean="0"/>
              <a:t>第二層</a:t>
            </a:r>
          </a:p>
          <a:p>
            <a:pPr lvl="2" eaLnBrk="1" latinLnBrk="0" hangingPunct="1"/>
            <a:r>
              <a:rPr lang="zh-TW" altLang="en-US" dirty="0" smtClean="0"/>
              <a:t>第三層</a:t>
            </a:r>
          </a:p>
          <a:p>
            <a:pPr lvl="3" eaLnBrk="1" latinLnBrk="0" hangingPunct="1"/>
            <a:r>
              <a:rPr lang="zh-TW" altLang="en-US" dirty="0" smtClean="0"/>
              <a:t>第四層</a:t>
            </a:r>
          </a:p>
          <a:p>
            <a:pPr lvl="4" eaLnBrk="1" latinLnBrk="0" hangingPunct="1"/>
            <a:r>
              <a:rPr lang="zh-TW" altLang="en-US" dirty="0" smtClean="0"/>
              <a:t>第五層</a:t>
            </a:r>
            <a:endParaRPr kumimoji="0" lang="en-US" dirty="0"/>
          </a:p>
        </p:txBody>
      </p:sp>
      <p:sp>
        <p:nvSpPr>
          <p:cNvPr id="11" name="內容版面配置區 10"/>
          <p:cNvSpPr>
            <a:spLocks noGrp="1"/>
          </p:cNvSpPr>
          <p:nvPr>
            <p:ph sz="quarter" idx="2"/>
          </p:nvPr>
        </p:nvSpPr>
        <p:spPr>
          <a:xfrm>
            <a:off x="6459868" y="1589567"/>
            <a:ext cx="5181600" cy="4572000"/>
          </a:xfrm>
        </p:spPr>
        <p:txBody>
          <a:bodyPr/>
          <a:lstStyle>
            <a:lvl1pPr marL="320040" indent="-320040">
              <a:buFont typeface="Wingdings" panose="05000000000000000000" pitchFamily="2" charset="2"/>
              <a:buChar char="l"/>
              <a:defRPr/>
            </a:lvl1pPr>
            <a:lvl2pPr marL="640080" indent="-274320">
              <a:buFont typeface="Wingdings" panose="05000000000000000000" pitchFamily="2" charset="2"/>
              <a:buChar char="l"/>
              <a:defRPr/>
            </a:lvl2pPr>
            <a:lvl3pPr marL="914400" indent="-228600">
              <a:buFont typeface="Wingdings" panose="05000000000000000000" pitchFamily="2" charset="2"/>
              <a:buChar char="l"/>
              <a:defRPr/>
            </a:lvl3pPr>
            <a:lvl4pPr marL="1371600" indent="-228600">
              <a:buFont typeface="Wingdings" panose="05000000000000000000" pitchFamily="2" charset="2"/>
              <a:buChar char="l"/>
              <a:defRPr/>
            </a:lvl4pPr>
            <a:lvl5pPr marL="1828800" indent="-228600">
              <a:buFont typeface="Wingdings" panose="05000000000000000000" pitchFamily="2" charset="2"/>
              <a:buChar char="l"/>
              <a:defRPr/>
            </a:lvl5pPr>
          </a:lstStyle>
          <a:p>
            <a:pPr lvl="0" eaLnBrk="1" latinLnBrk="0" hangingPunct="1"/>
            <a:r>
              <a:rPr lang="zh-TW" altLang="en-US" dirty="0" smtClean="0"/>
              <a:t>按一下以編輯母片文字樣式</a:t>
            </a:r>
          </a:p>
          <a:p>
            <a:pPr lvl="1" eaLnBrk="1" latinLnBrk="0" hangingPunct="1"/>
            <a:r>
              <a:rPr lang="zh-TW" altLang="en-US" dirty="0" smtClean="0"/>
              <a:t>第二層</a:t>
            </a:r>
          </a:p>
          <a:p>
            <a:pPr lvl="2" eaLnBrk="1" latinLnBrk="0" hangingPunct="1"/>
            <a:r>
              <a:rPr lang="zh-TW" altLang="en-US" dirty="0" smtClean="0"/>
              <a:t>第三層</a:t>
            </a:r>
          </a:p>
          <a:p>
            <a:pPr lvl="3" eaLnBrk="1" latinLnBrk="0" hangingPunct="1"/>
            <a:r>
              <a:rPr lang="zh-TW" altLang="en-US" dirty="0" smtClean="0"/>
              <a:t>第四層</a:t>
            </a:r>
          </a:p>
          <a:p>
            <a:pPr lvl="4" eaLnBrk="1" latinLnBrk="0" hangingPunct="1"/>
            <a:r>
              <a:rPr lang="zh-TW" altLang="en-US" dirty="0" smtClean="0"/>
              <a:t>第五層</a:t>
            </a:r>
            <a:endParaRPr kumimoji="0" lang="en-US" dirty="0"/>
          </a:p>
        </p:txBody>
      </p:sp>
      <p:sp>
        <p:nvSpPr>
          <p:cNvPr id="8" name="日期版面配置區 7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fld id="{3F2153AC-58B4-40E8-9277-A42E737D8EA7}" type="datetime1">
              <a:rPr lang="zh-TW" altLang="en-US" smtClean="0"/>
              <a:t>2021/10/6</a:t>
            </a:fld>
            <a:endParaRPr lang="zh-TW" altLang="en-US"/>
          </a:p>
        </p:txBody>
      </p:sp>
      <p:sp>
        <p:nvSpPr>
          <p:cNvPr id="10" name="投影片編號版面配置區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12" name="頁尾版面配置區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530386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11200" y="273050"/>
            <a:ext cx="10871200" cy="86995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zh-TW" altLang="en-US" smtClean="0"/>
              <a:t>按一下以編輯母片標題樣式</a:t>
            </a:r>
            <a:endParaRPr kumimoji="0" lang="en-US"/>
          </a:p>
        </p:txBody>
      </p:sp>
      <p:sp>
        <p:nvSpPr>
          <p:cNvPr id="11" name="內容版面配置區 10"/>
          <p:cNvSpPr>
            <a:spLocks noGrp="1"/>
          </p:cNvSpPr>
          <p:nvPr>
            <p:ph sz="quarter" idx="2"/>
          </p:nvPr>
        </p:nvSpPr>
        <p:spPr>
          <a:xfrm>
            <a:off x="812800" y="2438400"/>
            <a:ext cx="5181600" cy="3581400"/>
          </a:xfrm>
        </p:spPr>
        <p:txBody>
          <a:bodyPr>
            <a:normAutofit/>
          </a:bodyPr>
          <a:lstStyle>
            <a:lvl1pPr marL="320040" indent="-320040">
              <a:buFont typeface="Wingdings" panose="05000000000000000000" pitchFamily="2" charset="2"/>
              <a:buChar char="l"/>
              <a:defRPr sz="2000"/>
            </a:lvl1pPr>
            <a:lvl2pPr marL="640080" indent="-274320">
              <a:buFont typeface="Wingdings" panose="05000000000000000000" pitchFamily="2" charset="2"/>
              <a:buChar char="l"/>
              <a:defRPr sz="2000"/>
            </a:lvl2pPr>
            <a:lvl3pPr marL="914400" indent="-228600">
              <a:buFont typeface="Wingdings" panose="05000000000000000000" pitchFamily="2" charset="2"/>
              <a:buChar char="l"/>
              <a:defRPr sz="2000"/>
            </a:lvl3pPr>
            <a:lvl4pPr marL="1371600" indent="-228600">
              <a:buFont typeface="Wingdings" panose="05000000000000000000" pitchFamily="2" charset="2"/>
              <a:buChar char="l"/>
              <a:defRPr sz="2000"/>
            </a:lvl4pPr>
            <a:lvl5pPr marL="1828800" indent="-228600">
              <a:buFont typeface="Wingdings" panose="05000000000000000000" pitchFamily="2" charset="2"/>
              <a:buChar char="l"/>
              <a:defRPr sz="2000"/>
            </a:lvl5pPr>
          </a:lstStyle>
          <a:p>
            <a:pPr lvl="0" eaLnBrk="1" latinLnBrk="0" hangingPunct="1"/>
            <a:r>
              <a:rPr lang="zh-TW" altLang="en-US" dirty="0" smtClean="0"/>
              <a:t>按一下以編輯母片文字樣式</a:t>
            </a:r>
          </a:p>
          <a:p>
            <a:pPr lvl="1" eaLnBrk="1" latinLnBrk="0" hangingPunct="1"/>
            <a:r>
              <a:rPr lang="zh-TW" altLang="en-US" dirty="0" smtClean="0"/>
              <a:t>第二層</a:t>
            </a:r>
          </a:p>
          <a:p>
            <a:pPr lvl="2" eaLnBrk="1" latinLnBrk="0" hangingPunct="1"/>
            <a:r>
              <a:rPr lang="zh-TW" altLang="en-US" dirty="0" smtClean="0"/>
              <a:t>第三層</a:t>
            </a:r>
          </a:p>
          <a:p>
            <a:pPr lvl="3" eaLnBrk="1" latinLnBrk="0" hangingPunct="1"/>
            <a:r>
              <a:rPr lang="zh-TW" altLang="en-US" dirty="0" smtClean="0"/>
              <a:t>第四層</a:t>
            </a:r>
          </a:p>
          <a:p>
            <a:pPr lvl="4" eaLnBrk="1" latinLnBrk="0" hangingPunct="1"/>
            <a:r>
              <a:rPr lang="zh-TW" altLang="en-US" dirty="0" smtClean="0"/>
              <a:t>第五層</a:t>
            </a:r>
            <a:endParaRPr kumimoji="0" lang="en-US" dirty="0"/>
          </a:p>
        </p:txBody>
      </p:sp>
      <p:sp>
        <p:nvSpPr>
          <p:cNvPr id="13" name="內容版面配置區 12"/>
          <p:cNvSpPr>
            <a:spLocks noGrp="1"/>
          </p:cNvSpPr>
          <p:nvPr>
            <p:ph sz="quarter" idx="4"/>
          </p:nvPr>
        </p:nvSpPr>
        <p:spPr>
          <a:xfrm>
            <a:off x="6400800" y="2438400"/>
            <a:ext cx="5181600" cy="3581400"/>
          </a:xfrm>
        </p:spPr>
        <p:txBody>
          <a:bodyPr>
            <a:normAutofit/>
          </a:bodyPr>
          <a:lstStyle>
            <a:lvl1pPr marL="320040" indent="-320040">
              <a:buFont typeface="Wingdings" panose="05000000000000000000" pitchFamily="2" charset="2"/>
              <a:buChar char="l"/>
              <a:defRPr sz="2000"/>
            </a:lvl1pPr>
            <a:lvl2pPr marL="640080" indent="-274320">
              <a:buFont typeface="Wingdings" panose="05000000000000000000" pitchFamily="2" charset="2"/>
              <a:buChar char="l"/>
              <a:defRPr sz="2000"/>
            </a:lvl2pPr>
            <a:lvl3pPr marL="914400" indent="-228600">
              <a:buFont typeface="Wingdings" panose="05000000000000000000" pitchFamily="2" charset="2"/>
              <a:buChar char="l"/>
              <a:defRPr sz="2000"/>
            </a:lvl3pPr>
            <a:lvl4pPr marL="1371600" indent="-228600">
              <a:buFont typeface="Wingdings" panose="05000000000000000000" pitchFamily="2" charset="2"/>
              <a:buChar char="l"/>
              <a:defRPr sz="2000"/>
            </a:lvl4pPr>
            <a:lvl5pPr marL="1828800" indent="-228600">
              <a:buFont typeface="Wingdings" panose="05000000000000000000" pitchFamily="2" charset="2"/>
              <a:buChar char="l"/>
              <a:defRPr sz="2000"/>
            </a:lvl5pPr>
          </a:lstStyle>
          <a:p>
            <a:pPr lvl="0" eaLnBrk="1" latinLnBrk="0" hangingPunct="1"/>
            <a:r>
              <a:rPr lang="zh-TW" altLang="en-US" dirty="0" smtClean="0"/>
              <a:t>按一下以編輯母片文字樣式</a:t>
            </a:r>
          </a:p>
          <a:p>
            <a:pPr lvl="1" eaLnBrk="1" latinLnBrk="0" hangingPunct="1"/>
            <a:r>
              <a:rPr lang="zh-TW" altLang="en-US" dirty="0" smtClean="0"/>
              <a:t>第二層</a:t>
            </a:r>
          </a:p>
          <a:p>
            <a:pPr lvl="2" eaLnBrk="1" latinLnBrk="0" hangingPunct="1"/>
            <a:r>
              <a:rPr lang="zh-TW" altLang="en-US" dirty="0" smtClean="0"/>
              <a:t>第三層</a:t>
            </a:r>
          </a:p>
          <a:p>
            <a:pPr lvl="3" eaLnBrk="1" latinLnBrk="0" hangingPunct="1"/>
            <a:r>
              <a:rPr lang="zh-TW" altLang="en-US" dirty="0" smtClean="0"/>
              <a:t>第四層</a:t>
            </a:r>
          </a:p>
          <a:p>
            <a:pPr lvl="4" eaLnBrk="1" latinLnBrk="0" hangingPunct="1"/>
            <a:r>
              <a:rPr lang="zh-TW" altLang="en-US" dirty="0" smtClean="0"/>
              <a:t>第五層</a:t>
            </a:r>
            <a:endParaRPr kumimoji="0" lang="en-US" dirty="0"/>
          </a:p>
        </p:txBody>
      </p:sp>
      <p:sp>
        <p:nvSpPr>
          <p:cNvPr id="10" name="日期版面配置區 9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fld id="{08E04111-6B98-4176-A24A-3D36E83AF803}" type="datetime1">
              <a:rPr lang="zh-TW" altLang="en-US" smtClean="0"/>
              <a:t>2021/10/6</a:t>
            </a:fld>
            <a:endParaRPr lang="zh-TW" altLang="en-US"/>
          </a:p>
        </p:txBody>
      </p:sp>
      <p:sp>
        <p:nvSpPr>
          <p:cNvPr id="12" name="投影片編號版面配置區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14" name="頁尾版面配置區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endParaRPr lang="zh-TW" altLang="en-US"/>
          </a:p>
        </p:txBody>
      </p:sp>
      <p:sp>
        <p:nvSpPr>
          <p:cNvPr id="16" name="文字版面配置區 15"/>
          <p:cNvSpPr>
            <a:spLocks noGrp="1"/>
          </p:cNvSpPr>
          <p:nvPr>
            <p:ph type="body" sz="quarter" idx="1"/>
          </p:nvPr>
        </p:nvSpPr>
        <p:spPr>
          <a:xfrm>
            <a:off x="812800" y="1752600"/>
            <a:ext cx="51816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zh-TW" altLang="en-US" dirty="0" smtClean="0"/>
              <a:t>按一下以編輯母片文字樣式</a:t>
            </a:r>
          </a:p>
        </p:txBody>
      </p:sp>
      <p:sp>
        <p:nvSpPr>
          <p:cNvPr id="15" name="文字版面配置區 14"/>
          <p:cNvSpPr>
            <a:spLocks noGrp="1"/>
          </p:cNvSpPr>
          <p:nvPr>
            <p:ph type="body" sz="quarter" idx="3"/>
          </p:nvPr>
        </p:nvSpPr>
        <p:spPr>
          <a:xfrm>
            <a:off x="6400800" y="1752600"/>
            <a:ext cx="51816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zh-TW" altLang="en-US" smtClean="0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26398632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E457D"/>
                </a:solidFill>
              </a:defRPr>
            </a:lvl1pPr>
          </a:lstStyle>
          <a:p>
            <a:r>
              <a:rPr kumimoji="0" lang="zh-TW" altLang="en-US" dirty="0" smtClean="0"/>
              <a:t>按一下以編輯母片標題樣式</a:t>
            </a:r>
            <a:endParaRPr kumimoji="0" lang="en-US" dirty="0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23923-BD85-414E-96BB-71FAA6A68C81}" type="datetime1">
              <a:rPr lang="zh-TW" altLang="en-US" smtClean="0"/>
              <a:t>2021/10/6</a:t>
            </a:fld>
            <a:endParaRPr lang="zh-TW" altLang="en-US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4496403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10/6</a:t>
            </a:fld>
            <a:endParaRPr lang="zh-CN" altLang="en-US" dirty="0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 altLang="zh-CN" dirty="0" smtClean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96371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  <p:sldLayoutId id="2147484009" r:id="rId2"/>
    <p:sldLayoutId id="2147484022" r:id="rId3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標題版面配置區 21"/>
          <p:cNvSpPr>
            <a:spLocks noGrp="1"/>
          </p:cNvSpPr>
          <p:nvPr>
            <p:ph type="title"/>
          </p:nvPr>
        </p:nvSpPr>
        <p:spPr>
          <a:xfrm>
            <a:off x="812800" y="228600"/>
            <a:ext cx="10871200" cy="990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zh-TW" altLang="en-US" dirty="0" smtClean="0"/>
              <a:t>按一下以編輯母片標題樣式</a:t>
            </a:r>
            <a:endParaRPr kumimoji="0" lang="en-US" dirty="0"/>
          </a:p>
        </p:txBody>
      </p:sp>
      <p:sp>
        <p:nvSpPr>
          <p:cNvPr id="13" name="文字版面配置區 12"/>
          <p:cNvSpPr>
            <a:spLocks noGrp="1"/>
          </p:cNvSpPr>
          <p:nvPr>
            <p:ph type="body" idx="1"/>
          </p:nvPr>
        </p:nvSpPr>
        <p:spPr>
          <a:xfrm>
            <a:off x="816864" y="1600200"/>
            <a:ext cx="10871200" cy="452628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zh-TW" altLang="en-US" dirty="0" smtClean="0"/>
              <a:t>按一下以編輯母片文字樣式</a:t>
            </a:r>
          </a:p>
          <a:p>
            <a:pPr lvl="1" eaLnBrk="1" latinLnBrk="0" hangingPunct="1"/>
            <a:r>
              <a:rPr kumimoji="0" lang="zh-TW" altLang="en-US" dirty="0" smtClean="0"/>
              <a:t>第二層</a:t>
            </a:r>
          </a:p>
          <a:p>
            <a:pPr lvl="2" eaLnBrk="1" latinLnBrk="0" hangingPunct="1"/>
            <a:r>
              <a:rPr kumimoji="0" lang="zh-TW" altLang="en-US" dirty="0" smtClean="0"/>
              <a:t>第三層</a:t>
            </a:r>
          </a:p>
          <a:p>
            <a:pPr lvl="3" eaLnBrk="1" latinLnBrk="0" hangingPunct="1"/>
            <a:r>
              <a:rPr kumimoji="0" lang="zh-TW" altLang="en-US" dirty="0" smtClean="0"/>
              <a:t>第四層</a:t>
            </a:r>
          </a:p>
          <a:p>
            <a:pPr lvl="4" eaLnBrk="1" latinLnBrk="0" hangingPunct="1"/>
            <a:r>
              <a:rPr kumimoji="0" lang="zh-TW" altLang="en-US" dirty="0" smtClean="0"/>
              <a:t>第五層</a:t>
            </a:r>
            <a:endParaRPr kumimoji="0" lang="en-US" dirty="0"/>
          </a:p>
        </p:txBody>
      </p:sp>
      <p:sp>
        <p:nvSpPr>
          <p:cNvPr id="14" name="日期版面配置區 13"/>
          <p:cNvSpPr>
            <a:spLocks noGrp="1"/>
          </p:cNvSpPr>
          <p:nvPr>
            <p:ph type="dt" sz="half" idx="2"/>
          </p:nvPr>
        </p:nvSpPr>
        <p:spPr>
          <a:xfrm>
            <a:off x="8128000" y="6248401"/>
            <a:ext cx="3556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fld id="{C633F8FC-CD45-4E20-B5D0-800168B4EAB8}" type="datetime1">
              <a:rPr lang="zh-TW" altLang="en-US" smtClean="0"/>
              <a:pPr/>
              <a:t>2021/10/6</a:t>
            </a:fld>
            <a:endParaRPr lang="zh-TW" altLang="en-US" dirty="0"/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3"/>
          </p:nvPr>
        </p:nvSpPr>
        <p:spPr>
          <a:xfrm>
            <a:off x="812801" y="6248207"/>
            <a:ext cx="7228111" cy="365125"/>
          </a:xfrm>
          <a:prstGeom prst="rect">
            <a:avLst/>
          </a:prstGeom>
        </p:spPr>
        <p:txBody>
          <a:bodyPr vert="horz" anchor="ctr"/>
          <a:lstStyle>
            <a:lvl1pPr algn="r" eaLnBrk="1" latinLnBrk="0" hangingPunct="1">
              <a:defRPr kumimoji="0" sz="1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endParaRPr lang="zh-TW" altLang="en-US" dirty="0"/>
          </a:p>
        </p:txBody>
      </p:sp>
      <p:sp>
        <p:nvSpPr>
          <p:cNvPr id="7" name="矩形 6"/>
          <p:cNvSpPr/>
          <p:nvPr/>
        </p:nvSpPr>
        <p:spPr bwMode="white">
          <a:xfrm>
            <a:off x="0" y="1234440"/>
            <a:ext cx="12192000" cy="32004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1280160"/>
            <a:ext cx="7112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787400" y="1280160"/>
            <a:ext cx="1140460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23" name="投影片編號版面配置區 22"/>
          <p:cNvSpPr>
            <a:spLocks noGrp="1"/>
          </p:cNvSpPr>
          <p:nvPr>
            <p:ph type="sldNum" sz="quarter" idx="4"/>
          </p:nvPr>
        </p:nvSpPr>
        <p:spPr>
          <a:xfrm>
            <a:off x="0" y="1272222"/>
            <a:ext cx="711200" cy="244476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latinLnBrk="0" hangingPunct="1">
              <a:defRPr kumimoji="0" sz="1400" b="1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953774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  <p:sldLayoutId id="2147484012" r:id="rId2"/>
    <p:sldLayoutId id="2147484013" r:id="rId3"/>
    <p:sldLayoutId id="2147484014" r:id="rId4"/>
    <p:sldLayoutId id="2147484015" r:id="rId5"/>
    <p:sldLayoutId id="2147484016" r:id="rId6"/>
    <p:sldLayoutId id="2147484017" r:id="rId7"/>
    <p:sldLayoutId id="2147484018" r:id="rId8"/>
    <p:sldLayoutId id="2147484019" r:id="rId9"/>
    <p:sldLayoutId id="2147484020" r:id="rId10"/>
    <p:sldLayoutId id="2147484021" r:id="rId11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4400" b="1" kern="1200" baseline="0">
          <a:solidFill>
            <a:srgbClr val="0E457D"/>
          </a:solidFill>
          <a:latin typeface="Arial" panose="020B0604020202020204" pitchFamily="34" charset="0"/>
          <a:ea typeface="微軟正黑體" panose="020B0604030504040204" pitchFamily="34" charset="-120"/>
          <a:cs typeface="+mj-cs"/>
        </a:defRPr>
      </a:lvl1pPr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kumimoji="0" sz="29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kumimoji="0" sz="26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kumimoji="0" sz="23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kumimoji="0" sz="20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kumimoji="0" sz="20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youtu.be/l_BFNIyK9JA" TargetMode="Externa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383699" y="1835871"/>
            <a:ext cx="5470981" cy="1593130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2400"/>
              </a:spcBef>
            </a:pP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數位信號處理</a:t>
            </a:r>
            <a:r>
              <a:rPr lang="zh-TW" altLang="en-US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實驗</a:t>
            </a:r>
            <a:r>
              <a:rPr lang="en-US" altLang="zh-TW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/>
            </a:r>
            <a:br>
              <a:rPr lang="en-US" altLang="zh-TW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r>
              <a:rPr lang="en-US" altLang="zh-TW" dirty="0" smtClean="0"/>
              <a:t>(</a:t>
            </a:r>
            <a:r>
              <a:rPr lang="en-US" altLang="zh-TW" dirty="0"/>
              <a:t>DSP</a:t>
            </a:r>
            <a:r>
              <a:rPr lang="en-US" altLang="zh-TW" dirty="0" smtClean="0"/>
              <a:t>)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567127" y="4268214"/>
            <a:ext cx="2552062" cy="456930"/>
          </a:xfrm>
        </p:spPr>
        <p:txBody>
          <a:bodyPr/>
          <a:lstStyle/>
          <a:p>
            <a:r>
              <a:rPr lang="zh-TW" altLang="en-US" sz="20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電機系 方士豪 教授</a:t>
            </a:r>
            <a:endParaRPr lang="en-US" altLang="zh-CN" sz="20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" name="副标题 4"/>
          <p:cNvSpPr>
            <a:spLocks noGrp="1"/>
          </p:cNvSpPr>
          <p:nvPr>
            <p:ph type="subTitle" idx="1"/>
          </p:nvPr>
        </p:nvSpPr>
        <p:spPr>
          <a:xfrm>
            <a:off x="1383699" y="3435346"/>
            <a:ext cx="5844994" cy="425702"/>
          </a:xfrm>
        </p:spPr>
        <p:txBody>
          <a:bodyPr>
            <a:normAutofit/>
          </a:bodyPr>
          <a:lstStyle/>
          <a:p>
            <a:r>
              <a:rPr lang="en-US" altLang="zh-CN" b="1" u="heavy" dirty="0" smtClean="0">
                <a:solidFill>
                  <a:srgbClr val="CE4C4B"/>
                </a:solidFill>
              </a:rPr>
              <a:t>2. MATLAB </a:t>
            </a:r>
            <a:r>
              <a:rPr lang="zh-TW" altLang="en-US" b="1" u="heavy" dirty="0" smtClean="0">
                <a:solidFill>
                  <a:srgbClr val="CE4C4B"/>
                </a:solidFill>
              </a:rPr>
              <a:t>基本</a:t>
            </a:r>
            <a:r>
              <a:rPr lang="zh-TW" altLang="en-US" b="1" u="heavy" dirty="0">
                <a:solidFill>
                  <a:srgbClr val="CE4C4B"/>
                </a:solidFill>
              </a:rPr>
              <a:t>繪圖與訊號處理</a:t>
            </a:r>
            <a:endParaRPr lang="en-US" altLang="zh-CN" b="1" u="heavy" dirty="0">
              <a:solidFill>
                <a:srgbClr val="CE4C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129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altLang="zh-TW" dirty="0"/>
              <a:t>plot </a:t>
            </a:r>
            <a:r>
              <a:rPr lang="zh-TW" altLang="en-US" dirty="0" smtClean="0"/>
              <a:t>線條符號</a:t>
            </a:r>
            <a:endParaRPr lang="zh-TW" altLang="en-US" dirty="0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pPr>
              <a:defRPr/>
            </a:pPr>
            <a:fld id="{9864C0B4-EC1E-4FC9-B104-936E49C44DDA}" type="slidenum">
              <a:rPr lang="zh-TW" altLang="en-US" smtClean="0"/>
              <a:pPr>
                <a:defRPr/>
              </a:pPr>
              <a:t>10</a:t>
            </a:fld>
            <a:endParaRPr lang="en-US" altLang="zh-TW" dirty="0"/>
          </a:p>
        </p:txBody>
      </p:sp>
      <p:graphicFrame>
        <p:nvGraphicFramePr>
          <p:cNvPr id="9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531951"/>
              </p:ext>
            </p:extLst>
          </p:nvPr>
        </p:nvGraphicFramePr>
        <p:xfrm>
          <a:off x="1631504" y="2204864"/>
          <a:ext cx="3456384" cy="3169920"/>
        </p:xfrm>
        <a:graphic>
          <a:graphicData uri="http://schemas.openxmlformats.org/drawingml/2006/table">
            <a:tbl>
              <a:tblPr firstRow="1"/>
              <a:tblGrid>
                <a:gridCol w="2170430">
                  <a:extLst>
                    <a:ext uri="{9D8B030D-6E8A-4147-A177-3AD203B41FA5}">
                      <a16:colId xmlns:a16="http://schemas.microsoft.com/office/drawing/2014/main" val="2866711560"/>
                    </a:ext>
                  </a:extLst>
                </a:gridCol>
                <a:gridCol w="1285954">
                  <a:extLst>
                    <a:ext uri="{9D8B030D-6E8A-4147-A177-3AD203B41FA5}">
                      <a16:colId xmlns:a16="http://schemas.microsoft.com/office/drawing/2014/main" val="23327043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曲線符號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指令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15039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圓形</a:t>
                      </a: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O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1915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加號</a:t>
                      </a: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12615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叉號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8594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星號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*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8613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點號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27965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朝上三角形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^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17919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朝下三角形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V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4342390"/>
                  </a:ext>
                </a:extLst>
              </a:tr>
            </a:tbl>
          </a:graphicData>
        </a:graphic>
      </p:graphicFrame>
      <p:graphicFrame>
        <p:nvGraphicFramePr>
          <p:cNvPr id="11" name="表格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2299406"/>
              </p:ext>
            </p:extLst>
          </p:nvPr>
        </p:nvGraphicFramePr>
        <p:xfrm>
          <a:off x="6429831" y="2204864"/>
          <a:ext cx="3554601" cy="3169920"/>
        </p:xfrm>
        <a:graphic>
          <a:graphicData uri="http://schemas.openxmlformats.org/drawingml/2006/table">
            <a:tbl>
              <a:tblPr firstRow="1"/>
              <a:tblGrid>
                <a:gridCol w="1945005">
                  <a:extLst>
                    <a:ext uri="{9D8B030D-6E8A-4147-A177-3AD203B41FA5}">
                      <a16:colId xmlns:a16="http://schemas.microsoft.com/office/drawing/2014/main" val="2866711560"/>
                    </a:ext>
                  </a:extLst>
                </a:gridCol>
                <a:gridCol w="1609596">
                  <a:extLst>
                    <a:ext uri="{9D8B030D-6E8A-4147-A177-3AD203B41FA5}">
                      <a16:colId xmlns:a16="http://schemas.microsoft.com/office/drawing/2014/main" val="23327043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曲線符號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指令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15039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朝右三角形</a:t>
                      </a: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&gt;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1915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朝左三角形</a:t>
                      </a: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&lt;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12615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方形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squar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8594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菱形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diamond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8613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五角星形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pentagram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27965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六角星形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hexagram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17919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無符號</a:t>
                      </a: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預設值</a:t>
                      </a: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Non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4342390"/>
                  </a:ext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1944" y="2422800"/>
            <a:ext cx="4589112" cy="4140000"/>
          </a:xfrm>
          <a:prstGeom prst="rect">
            <a:avLst/>
          </a:prstGeom>
        </p:spPr>
      </p:pic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TW" altLang="en-US" dirty="0" smtClean="0">
                <a:latin typeface="微軟正黑體" panose="020B0604030504040204" pitchFamily="34" charset="-120"/>
              </a:rPr>
              <a:t>圖表標題</a:t>
            </a:r>
            <a:r>
              <a:rPr lang="zh-TW" altLang="en-US" dirty="0">
                <a:latin typeface="微軟正黑體" panose="020B0604030504040204" pitchFamily="34" charset="-120"/>
              </a:rPr>
              <a:t>與圖例</a:t>
            </a:r>
            <a:endParaRPr lang="zh-TW" altLang="zh-TW" dirty="0"/>
          </a:p>
        </p:txBody>
      </p:sp>
      <p:sp>
        <p:nvSpPr>
          <p:cNvPr id="48131" name="投影片編號版面配置區 5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85000" lnSpcReduction="20000"/>
          </a:bodyPr>
          <a:lstStyle/>
          <a:p>
            <a:fld id="{B89D914F-295F-4C2E-8701-5119655D00EA}" type="slidenum">
              <a:rPr lang="zh-TW" altLang="en-US"/>
              <a:pPr/>
              <a:t>11</a:t>
            </a:fld>
            <a:endParaRPr lang="en-US" altLang="zh-TW"/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1659052" y="1839718"/>
            <a:ext cx="7677307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indent="-274320">
              <a:buSzPct val="58000"/>
              <a:defRPr/>
            </a:pPr>
            <a:r>
              <a:rPr lang="en-US" altLang="zh-TW" sz="2000" b="1" dirty="0" smtClean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plot(X,Y</a:t>
            </a:r>
            <a:r>
              <a:rPr lang="en-US" altLang="zh-TW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, format)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：將向量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Y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對向量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X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做</a:t>
            </a:r>
            <a:r>
              <a:rPr lang="zh-TW" altLang="en-US" sz="2000" dirty="0" smtClean="0">
                <a:latin typeface="Arial" panose="020B0604020202020204" pitchFamily="34" charset="0"/>
                <a:ea typeface="微軟正黑體" panose="020B0604030504040204" pitchFamily="34" charset="-120"/>
              </a:rPr>
              <a:t>圖</a:t>
            </a:r>
            <a:endParaRPr lang="zh-TW" altLang="en-US" sz="2000" dirty="0"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0" name="Oval 77"/>
          <p:cNvSpPr>
            <a:spLocks noChangeArrowheads="1"/>
          </p:cNvSpPr>
          <p:nvPr/>
        </p:nvSpPr>
        <p:spPr bwMode="auto">
          <a:xfrm>
            <a:off x="983432" y="184482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/>
            <a:r>
              <a:rPr lang="zh-TW" altLang="en-US" sz="2000" dirty="0" smtClean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★</a:t>
            </a:r>
            <a:endParaRPr lang="en-US" sz="2000" dirty="0">
              <a:solidFill>
                <a:srgbClr val="0E457D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3" name="Text Box 7"/>
          <p:cNvSpPr txBox="1">
            <a:spLocks noChangeArrowheads="1"/>
          </p:cNvSpPr>
          <p:nvPr/>
        </p:nvSpPr>
        <p:spPr bwMode="auto">
          <a:xfrm>
            <a:off x="7188972" y="2314286"/>
            <a:ext cx="697528" cy="400110"/>
          </a:xfrm>
          <a:prstGeom prst="rect">
            <a:avLst/>
          </a:prstGeom>
          <a:solidFill>
            <a:schemeClr val="bg1">
              <a:alpha val="85000"/>
            </a:schemeClr>
          </a:solidFill>
          <a:ln w="12700" cap="sq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ctr"/>
            <a:r>
              <a:rPr lang="en-US" altLang="zh-TW" sz="2000" b="1" u="sng" dirty="0" smtClean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title</a:t>
            </a:r>
          </a:p>
        </p:txBody>
      </p:sp>
      <p:sp>
        <p:nvSpPr>
          <p:cNvPr id="14" name="向下箭號 3"/>
          <p:cNvSpPr/>
          <p:nvPr/>
        </p:nvSpPr>
        <p:spPr>
          <a:xfrm rot="19542617">
            <a:off x="7652460" y="2651892"/>
            <a:ext cx="271336" cy="587136"/>
          </a:xfrm>
          <a:custGeom>
            <a:avLst/>
            <a:gdLst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103838 w 415352"/>
              <a:gd name="connsiteY2" fmla="*/ 0 h 864096"/>
              <a:gd name="connsiteX3" fmla="*/ 311514 w 415352"/>
              <a:gd name="connsiteY3" fmla="*/ 0 h 864096"/>
              <a:gd name="connsiteX4" fmla="*/ 311514 w 415352"/>
              <a:gd name="connsiteY4" fmla="*/ 551643 h 864096"/>
              <a:gd name="connsiteX5" fmla="*/ 415352 w 415352"/>
              <a:gd name="connsiteY5" fmla="*/ 551643 h 864096"/>
              <a:gd name="connsiteX6" fmla="*/ 207676 w 415352"/>
              <a:gd name="connsiteY6" fmla="*/ 864096 h 864096"/>
              <a:gd name="connsiteX7" fmla="*/ 0 w 415352"/>
              <a:gd name="connsiteY7" fmla="*/ 551643 h 864096"/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311514 w 415352"/>
              <a:gd name="connsiteY2" fmla="*/ 0 h 864096"/>
              <a:gd name="connsiteX3" fmla="*/ 311514 w 415352"/>
              <a:gd name="connsiteY3" fmla="*/ 551643 h 864096"/>
              <a:gd name="connsiteX4" fmla="*/ 415352 w 415352"/>
              <a:gd name="connsiteY4" fmla="*/ 551643 h 864096"/>
              <a:gd name="connsiteX5" fmla="*/ 207676 w 415352"/>
              <a:gd name="connsiteY5" fmla="*/ 864096 h 864096"/>
              <a:gd name="connsiteX6" fmla="*/ 0 w 415352"/>
              <a:gd name="connsiteY6" fmla="*/ 551643 h 864096"/>
              <a:gd name="connsiteX0" fmla="*/ 0 w 415352"/>
              <a:gd name="connsiteY0" fmla="*/ 570693 h 883146"/>
              <a:gd name="connsiteX1" fmla="*/ 103838 w 415352"/>
              <a:gd name="connsiteY1" fmla="*/ 570693 h 883146"/>
              <a:gd name="connsiteX2" fmla="*/ 216264 w 415352"/>
              <a:gd name="connsiteY2" fmla="*/ 0 h 883146"/>
              <a:gd name="connsiteX3" fmla="*/ 311514 w 415352"/>
              <a:gd name="connsiteY3" fmla="*/ 570693 h 883146"/>
              <a:gd name="connsiteX4" fmla="*/ 415352 w 415352"/>
              <a:gd name="connsiteY4" fmla="*/ 570693 h 883146"/>
              <a:gd name="connsiteX5" fmla="*/ 207676 w 415352"/>
              <a:gd name="connsiteY5" fmla="*/ 883146 h 883146"/>
              <a:gd name="connsiteX6" fmla="*/ 0 w 415352"/>
              <a:gd name="connsiteY6" fmla="*/ 570693 h 88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5352" h="883146">
                <a:moveTo>
                  <a:pt x="0" y="570693"/>
                </a:moveTo>
                <a:lnTo>
                  <a:pt x="103838" y="570693"/>
                </a:lnTo>
                <a:lnTo>
                  <a:pt x="216264" y="0"/>
                </a:lnTo>
                <a:lnTo>
                  <a:pt x="311514" y="570693"/>
                </a:lnTo>
                <a:lnTo>
                  <a:pt x="415352" y="570693"/>
                </a:lnTo>
                <a:lnTo>
                  <a:pt x="207676" y="883146"/>
                </a:lnTo>
                <a:lnTo>
                  <a:pt x="0" y="570693"/>
                </a:lnTo>
                <a:close/>
              </a:path>
            </a:pathLst>
          </a:cu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6" name="Text Box 7"/>
          <p:cNvSpPr txBox="1">
            <a:spLocks noChangeArrowheads="1"/>
          </p:cNvSpPr>
          <p:nvPr/>
        </p:nvSpPr>
        <p:spPr bwMode="auto">
          <a:xfrm>
            <a:off x="7335792" y="5445224"/>
            <a:ext cx="1101411" cy="400110"/>
          </a:xfrm>
          <a:prstGeom prst="rect">
            <a:avLst/>
          </a:prstGeom>
          <a:solidFill>
            <a:schemeClr val="bg1">
              <a:alpha val="85000"/>
            </a:schemeClr>
          </a:solidFill>
          <a:ln w="12700" cap="sq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ctr"/>
            <a:r>
              <a:rPr lang="en-US" altLang="zh-TW" sz="2000" b="1" u="sng" dirty="0" err="1" smtClean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xlabel</a:t>
            </a:r>
            <a:endParaRPr lang="en-US" altLang="zh-TW" sz="2000" b="1" u="sng" dirty="0" smtClean="0">
              <a:solidFill>
                <a:srgbClr val="0E457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8" name="Text Box 7"/>
          <p:cNvSpPr txBox="1">
            <a:spLocks noChangeArrowheads="1"/>
          </p:cNvSpPr>
          <p:nvPr/>
        </p:nvSpPr>
        <p:spPr bwMode="auto">
          <a:xfrm>
            <a:off x="9079645" y="2639097"/>
            <a:ext cx="1101411" cy="400110"/>
          </a:xfrm>
          <a:prstGeom prst="rect">
            <a:avLst/>
          </a:prstGeom>
          <a:solidFill>
            <a:schemeClr val="bg1">
              <a:alpha val="85000"/>
            </a:schemeClr>
          </a:solidFill>
          <a:ln w="12700" cap="sq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ctr"/>
            <a:r>
              <a:rPr lang="en-US" altLang="zh-TW" sz="2000" b="1" u="sng" dirty="0" smtClean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legend</a:t>
            </a:r>
          </a:p>
        </p:txBody>
      </p:sp>
      <p:sp>
        <p:nvSpPr>
          <p:cNvPr id="11" name="向下箭號 3"/>
          <p:cNvSpPr/>
          <p:nvPr/>
        </p:nvSpPr>
        <p:spPr>
          <a:xfrm rot="1719103">
            <a:off x="9505159" y="2896766"/>
            <a:ext cx="271336" cy="587136"/>
          </a:xfrm>
          <a:custGeom>
            <a:avLst/>
            <a:gdLst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103838 w 415352"/>
              <a:gd name="connsiteY2" fmla="*/ 0 h 864096"/>
              <a:gd name="connsiteX3" fmla="*/ 311514 w 415352"/>
              <a:gd name="connsiteY3" fmla="*/ 0 h 864096"/>
              <a:gd name="connsiteX4" fmla="*/ 311514 w 415352"/>
              <a:gd name="connsiteY4" fmla="*/ 551643 h 864096"/>
              <a:gd name="connsiteX5" fmla="*/ 415352 w 415352"/>
              <a:gd name="connsiteY5" fmla="*/ 551643 h 864096"/>
              <a:gd name="connsiteX6" fmla="*/ 207676 w 415352"/>
              <a:gd name="connsiteY6" fmla="*/ 864096 h 864096"/>
              <a:gd name="connsiteX7" fmla="*/ 0 w 415352"/>
              <a:gd name="connsiteY7" fmla="*/ 551643 h 864096"/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311514 w 415352"/>
              <a:gd name="connsiteY2" fmla="*/ 0 h 864096"/>
              <a:gd name="connsiteX3" fmla="*/ 311514 w 415352"/>
              <a:gd name="connsiteY3" fmla="*/ 551643 h 864096"/>
              <a:gd name="connsiteX4" fmla="*/ 415352 w 415352"/>
              <a:gd name="connsiteY4" fmla="*/ 551643 h 864096"/>
              <a:gd name="connsiteX5" fmla="*/ 207676 w 415352"/>
              <a:gd name="connsiteY5" fmla="*/ 864096 h 864096"/>
              <a:gd name="connsiteX6" fmla="*/ 0 w 415352"/>
              <a:gd name="connsiteY6" fmla="*/ 551643 h 864096"/>
              <a:gd name="connsiteX0" fmla="*/ 0 w 415352"/>
              <a:gd name="connsiteY0" fmla="*/ 570693 h 883146"/>
              <a:gd name="connsiteX1" fmla="*/ 103838 w 415352"/>
              <a:gd name="connsiteY1" fmla="*/ 570693 h 883146"/>
              <a:gd name="connsiteX2" fmla="*/ 216264 w 415352"/>
              <a:gd name="connsiteY2" fmla="*/ 0 h 883146"/>
              <a:gd name="connsiteX3" fmla="*/ 311514 w 415352"/>
              <a:gd name="connsiteY3" fmla="*/ 570693 h 883146"/>
              <a:gd name="connsiteX4" fmla="*/ 415352 w 415352"/>
              <a:gd name="connsiteY4" fmla="*/ 570693 h 883146"/>
              <a:gd name="connsiteX5" fmla="*/ 207676 w 415352"/>
              <a:gd name="connsiteY5" fmla="*/ 883146 h 883146"/>
              <a:gd name="connsiteX6" fmla="*/ 0 w 415352"/>
              <a:gd name="connsiteY6" fmla="*/ 570693 h 88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5352" h="883146">
                <a:moveTo>
                  <a:pt x="0" y="570693"/>
                </a:moveTo>
                <a:lnTo>
                  <a:pt x="103838" y="570693"/>
                </a:lnTo>
                <a:lnTo>
                  <a:pt x="216264" y="0"/>
                </a:lnTo>
                <a:lnTo>
                  <a:pt x="311514" y="570693"/>
                </a:lnTo>
                <a:lnTo>
                  <a:pt x="415352" y="570693"/>
                </a:lnTo>
                <a:lnTo>
                  <a:pt x="207676" y="883146"/>
                </a:lnTo>
                <a:lnTo>
                  <a:pt x="0" y="570693"/>
                </a:lnTo>
                <a:close/>
              </a:path>
            </a:pathLst>
          </a:cu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9" name="Text Box 7"/>
          <p:cNvSpPr txBox="1">
            <a:spLocks noChangeArrowheads="1"/>
          </p:cNvSpPr>
          <p:nvPr/>
        </p:nvSpPr>
        <p:spPr bwMode="auto">
          <a:xfrm>
            <a:off x="5323233" y="3676560"/>
            <a:ext cx="998700" cy="400110"/>
          </a:xfrm>
          <a:prstGeom prst="rect">
            <a:avLst/>
          </a:prstGeom>
          <a:solidFill>
            <a:schemeClr val="bg1">
              <a:alpha val="85000"/>
            </a:schemeClr>
          </a:solidFill>
          <a:ln w="12700" cap="sq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ctr"/>
            <a:r>
              <a:rPr lang="en-US" altLang="zh-TW" sz="2000" b="1" u="sng" dirty="0" err="1" smtClean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ylabel</a:t>
            </a:r>
            <a:endParaRPr lang="en-US" altLang="zh-TW" sz="2000" b="1" u="sng" dirty="0">
              <a:solidFill>
                <a:srgbClr val="0E457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20" name="向下箭號 3"/>
          <p:cNvSpPr/>
          <p:nvPr/>
        </p:nvSpPr>
        <p:spPr>
          <a:xfrm rot="20911715">
            <a:off x="7750830" y="5754374"/>
            <a:ext cx="271336" cy="587136"/>
          </a:xfrm>
          <a:custGeom>
            <a:avLst/>
            <a:gdLst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103838 w 415352"/>
              <a:gd name="connsiteY2" fmla="*/ 0 h 864096"/>
              <a:gd name="connsiteX3" fmla="*/ 311514 w 415352"/>
              <a:gd name="connsiteY3" fmla="*/ 0 h 864096"/>
              <a:gd name="connsiteX4" fmla="*/ 311514 w 415352"/>
              <a:gd name="connsiteY4" fmla="*/ 551643 h 864096"/>
              <a:gd name="connsiteX5" fmla="*/ 415352 w 415352"/>
              <a:gd name="connsiteY5" fmla="*/ 551643 h 864096"/>
              <a:gd name="connsiteX6" fmla="*/ 207676 w 415352"/>
              <a:gd name="connsiteY6" fmla="*/ 864096 h 864096"/>
              <a:gd name="connsiteX7" fmla="*/ 0 w 415352"/>
              <a:gd name="connsiteY7" fmla="*/ 551643 h 864096"/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311514 w 415352"/>
              <a:gd name="connsiteY2" fmla="*/ 0 h 864096"/>
              <a:gd name="connsiteX3" fmla="*/ 311514 w 415352"/>
              <a:gd name="connsiteY3" fmla="*/ 551643 h 864096"/>
              <a:gd name="connsiteX4" fmla="*/ 415352 w 415352"/>
              <a:gd name="connsiteY4" fmla="*/ 551643 h 864096"/>
              <a:gd name="connsiteX5" fmla="*/ 207676 w 415352"/>
              <a:gd name="connsiteY5" fmla="*/ 864096 h 864096"/>
              <a:gd name="connsiteX6" fmla="*/ 0 w 415352"/>
              <a:gd name="connsiteY6" fmla="*/ 551643 h 864096"/>
              <a:gd name="connsiteX0" fmla="*/ 0 w 415352"/>
              <a:gd name="connsiteY0" fmla="*/ 570693 h 883146"/>
              <a:gd name="connsiteX1" fmla="*/ 103838 w 415352"/>
              <a:gd name="connsiteY1" fmla="*/ 570693 h 883146"/>
              <a:gd name="connsiteX2" fmla="*/ 216264 w 415352"/>
              <a:gd name="connsiteY2" fmla="*/ 0 h 883146"/>
              <a:gd name="connsiteX3" fmla="*/ 311514 w 415352"/>
              <a:gd name="connsiteY3" fmla="*/ 570693 h 883146"/>
              <a:gd name="connsiteX4" fmla="*/ 415352 w 415352"/>
              <a:gd name="connsiteY4" fmla="*/ 570693 h 883146"/>
              <a:gd name="connsiteX5" fmla="*/ 207676 w 415352"/>
              <a:gd name="connsiteY5" fmla="*/ 883146 h 883146"/>
              <a:gd name="connsiteX6" fmla="*/ 0 w 415352"/>
              <a:gd name="connsiteY6" fmla="*/ 570693 h 88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5352" h="883146">
                <a:moveTo>
                  <a:pt x="0" y="570693"/>
                </a:moveTo>
                <a:lnTo>
                  <a:pt x="103838" y="570693"/>
                </a:lnTo>
                <a:lnTo>
                  <a:pt x="216264" y="0"/>
                </a:lnTo>
                <a:lnTo>
                  <a:pt x="311514" y="570693"/>
                </a:lnTo>
                <a:lnTo>
                  <a:pt x="415352" y="570693"/>
                </a:lnTo>
                <a:lnTo>
                  <a:pt x="207676" y="883146"/>
                </a:lnTo>
                <a:lnTo>
                  <a:pt x="0" y="570693"/>
                </a:lnTo>
                <a:close/>
              </a:path>
            </a:pathLst>
          </a:cu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5" name="向下箭號 3"/>
          <p:cNvSpPr/>
          <p:nvPr/>
        </p:nvSpPr>
        <p:spPr>
          <a:xfrm rot="21325750">
            <a:off x="5686915" y="4056122"/>
            <a:ext cx="271336" cy="587136"/>
          </a:xfrm>
          <a:custGeom>
            <a:avLst/>
            <a:gdLst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103838 w 415352"/>
              <a:gd name="connsiteY2" fmla="*/ 0 h 864096"/>
              <a:gd name="connsiteX3" fmla="*/ 311514 w 415352"/>
              <a:gd name="connsiteY3" fmla="*/ 0 h 864096"/>
              <a:gd name="connsiteX4" fmla="*/ 311514 w 415352"/>
              <a:gd name="connsiteY4" fmla="*/ 551643 h 864096"/>
              <a:gd name="connsiteX5" fmla="*/ 415352 w 415352"/>
              <a:gd name="connsiteY5" fmla="*/ 551643 h 864096"/>
              <a:gd name="connsiteX6" fmla="*/ 207676 w 415352"/>
              <a:gd name="connsiteY6" fmla="*/ 864096 h 864096"/>
              <a:gd name="connsiteX7" fmla="*/ 0 w 415352"/>
              <a:gd name="connsiteY7" fmla="*/ 551643 h 864096"/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311514 w 415352"/>
              <a:gd name="connsiteY2" fmla="*/ 0 h 864096"/>
              <a:gd name="connsiteX3" fmla="*/ 311514 w 415352"/>
              <a:gd name="connsiteY3" fmla="*/ 551643 h 864096"/>
              <a:gd name="connsiteX4" fmla="*/ 415352 w 415352"/>
              <a:gd name="connsiteY4" fmla="*/ 551643 h 864096"/>
              <a:gd name="connsiteX5" fmla="*/ 207676 w 415352"/>
              <a:gd name="connsiteY5" fmla="*/ 864096 h 864096"/>
              <a:gd name="connsiteX6" fmla="*/ 0 w 415352"/>
              <a:gd name="connsiteY6" fmla="*/ 551643 h 864096"/>
              <a:gd name="connsiteX0" fmla="*/ 0 w 415352"/>
              <a:gd name="connsiteY0" fmla="*/ 570693 h 883146"/>
              <a:gd name="connsiteX1" fmla="*/ 103838 w 415352"/>
              <a:gd name="connsiteY1" fmla="*/ 570693 h 883146"/>
              <a:gd name="connsiteX2" fmla="*/ 216264 w 415352"/>
              <a:gd name="connsiteY2" fmla="*/ 0 h 883146"/>
              <a:gd name="connsiteX3" fmla="*/ 311514 w 415352"/>
              <a:gd name="connsiteY3" fmla="*/ 570693 h 883146"/>
              <a:gd name="connsiteX4" fmla="*/ 415352 w 415352"/>
              <a:gd name="connsiteY4" fmla="*/ 570693 h 883146"/>
              <a:gd name="connsiteX5" fmla="*/ 207676 w 415352"/>
              <a:gd name="connsiteY5" fmla="*/ 883146 h 883146"/>
              <a:gd name="connsiteX6" fmla="*/ 0 w 415352"/>
              <a:gd name="connsiteY6" fmla="*/ 570693 h 88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5352" h="883146">
                <a:moveTo>
                  <a:pt x="0" y="570693"/>
                </a:moveTo>
                <a:lnTo>
                  <a:pt x="103838" y="570693"/>
                </a:lnTo>
                <a:lnTo>
                  <a:pt x="216264" y="0"/>
                </a:lnTo>
                <a:lnTo>
                  <a:pt x="311514" y="570693"/>
                </a:lnTo>
                <a:lnTo>
                  <a:pt x="415352" y="570693"/>
                </a:lnTo>
                <a:lnTo>
                  <a:pt x="207676" y="883146"/>
                </a:lnTo>
                <a:lnTo>
                  <a:pt x="0" y="570693"/>
                </a:lnTo>
                <a:close/>
              </a:path>
            </a:pathLst>
          </a:cu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" name="內容版面配置區 1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endParaRPr lang="zh-TW" altLang="en-US"/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1669" y="2714396"/>
            <a:ext cx="3384743" cy="2916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737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TW" altLang="en-US" dirty="0">
                <a:latin typeface="微軟正黑體" panose="020B0604030504040204" pitchFamily="34" charset="-120"/>
              </a:rPr>
              <a:t>如何同時呈現多個圖形 </a:t>
            </a:r>
            <a:r>
              <a:rPr lang="en-US" altLang="zh-TW" dirty="0"/>
              <a:t>(1/3</a:t>
            </a:r>
            <a:r>
              <a:rPr lang="en-US" altLang="zh-TW" dirty="0" smtClean="0"/>
              <a:t>)</a:t>
            </a:r>
            <a:endParaRPr lang="zh-TW" altLang="zh-TW" dirty="0"/>
          </a:p>
        </p:txBody>
      </p:sp>
      <p:sp>
        <p:nvSpPr>
          <p:cNvPr id="48131" name="投影片編號版面配置區 5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85000" lnSpcReduction="20000"/>
          </a:bodyPr>
          <a:lstStyle/>
          <a:p>
            <a:fld id="{B89D914F-295F-4C2E-8701-5119655D00EA}" type="slidenum">
              <a:rPr lang="zh-TW" altLang="en-US"/>
              <a:pPr/>
              <a:t>12</a:t>
            </a:fld>
            <a:endParaRPr lang="en-US" altLang="zh-TW"/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1659052" y="1839718"/>
            <a:ext cx="9549516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/>
            <a:r>
              <a:rPr lang="zh-TW" altLang="en-US" sz="2000" dirty="0" smtClean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直接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使用 </a:t>
            </a:r>
            <a:r>
              <a:rPr lang="en-US" altLang="zh-TW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plot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畫出多個數對</a:t>
            </a:r>
          </a:p>
        </p:txBody>
      </p:sp>
      <p:sp>
        <p:nvSpPr>
          <p:cNvPr id="10" name="Oval 77"/>
          <p:cNvSpPr>
            <a:spLocks noChangeArrowheads="1"/>
          </p:cNvSpPr>
          <p:nvPr/>
        </p:nvSpPr>
        <p:spPr bwMode="auto">
          <a:xfrm>
            <a:off x="983432" y="184482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/>
            <a:r>
              <a:rPr lang="en-US" altLang="zh-TW" sz="2000" dirty="0" smtClean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1</a:t>
            </a:r>
            <a:endParaRPr lang="en-US" sz="2000" dirty="0">
              <a:solidFill>
                <a:srgbClr val="0E457D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0800" y="2422800"/>
            <a:ext cx="4589112" cy="4140000"/>
          </a:xfrm>
          <a:prstGeom prst="rect">
            <a:avLst/>
          </a:prstGeom>
        </p:spPr>
      </p:pic>
      <p:sp>
        <p:nvSpPr>
          <p:cNvPr id="17" name="KSO_Shape"/>
          <p:cNvSpPr>
            <a:spLocks noChangeAspect="1"/>
          </p:cNvSpPr>
          <p:nvPr/>
        </p:nvSpPr>
        <p:spPr bwMode="auto">
          <a:xfrm rot="18286279">
            <a:off x="5084858" y="3862833"/>
            <a:ext cx="694278" cy="745200"/>
          </a:xfrm>
          <a:custGeom>
            <a:avLst/>
            <a:gdLst>
              <a:gd name="T0" fmla="*/ 847238989 w 3580"/>
              <a:gd name="T1" fmla="*/ 847586626 h 3841"/>
              <a:gd name="T2" fmla="*/ 847238989 w 3580"/>
              <a:gd name="T3" fmla="*/ 847586626 h 3841"/>
              <a:gd name="T4" fmla="*/ 847238989 w 3580"/>
              <a:gd name="T5" fmla="*/ 847586626 h 3841"/>
              <a:gd name="T6" fmla="*/ 847238989 w 3580"/>
              <a:gd name="T7" fmla="*/ 847586626 h 3841"/>
              <a:gd name="T8" fmla="*/ 847238989 w 3580"/>
              <a:gd name="T9" fmla="*/ 847586626 h 3841"/>
              <a:gd name="T10" fmla="*/ 847238989 w 3580"/>
              <a:gd name="T11" fmla="*/ 847586626 h 3841"/>
              <a:gd name="T12" fmla="*/ 847238989 w 3580"/>
              <a:gd name="T13" fmla="*/ 847586626 h 3841"/>
              <a:gd name="T14" fmla="*/ 847238989 w 3580"/>
              <a:gd name="T15" fmla="*/ 847586626 h 3841"/>
              <a:gd name="T16" fmla="*/ 847238989 w 3580"/>
              <a:gd name="T17" fmla="*/ 847586626 h 3841"/>
              <a:gd name="T18" fmla="*/ 847238989 w 3580"/>
              <a:gd name="T19" fmla="*/ 847586626 h 3841"/>
              <a:gd name="T20" fmla="*/ 847238989 w 3580"/>
              <a:gd name="T21" fmla="*/ 847586626 h 3841"/>
              <a:gd name="T22" fmla="*/ 847238989 w 3580"/>
              <a:gd name="T23" fmla="*/ 847586626 h 3841"/>
              <a:gd name="T24" fmla="*/ 847238989 w 3580"/>
              <a:gd name="T25" fmla="*/ 847586626 h 3841"/>
              <a:gd name="T26" fmla="*/ 847238989 w 3580"/>
              <a:gd name="T27" fmla="*/ 847586626 h 3841"/>
              <a:gd name="T28" fmla="*/ 847238989 w 3580"/>
              <a:gd name="T29" fmla="*/ 847586626 h 3841"/>
              <a:gd name="T30" fmla="*/ 847238989 w 3580"/>
              <a:gd name="T31" fmla="*/ 847586626 h 3841"/>
              <a:gd name="T32" fmla="*/ 847238989 w 3580"/>
              <a:gd name="T33" fmla="*/ 847586626 h 3841"/>
              <a:gd name="T34" fmla="*/ 847238989 w 3580"/>
              <a:gd name="T35" fmla="*/ 847586626 h 3841"/>
              <a:gd name="T36" fmla="*/ 847238989 w 3580"/>
              <a:gd name="T37" fmla="*/ 847586626 h 3841"/>
              <a:gd name="T38" fmla="*/ 847238989 w 3580"/>
              <a:gd name="T39" fmla="*/ 847586626 h 3841"/>
              <a:gd name="T40" fmla="*/ 847238989 w 3580"/>
              <a:gd name="T41" fmla="*/ 847586626 h 3841"/>
              <a:gd name="T42" fmla="*/ 847238989 w 3580"/>
              <a:gd name="T43" fmla="*/ 847586626 h 3841"/>
              <a:gd name="T44" fmla="*/ 847238989 w 3580"/>
              <a:gd name="T45" fmla="*/ 847586626 h 3841"/>
              <a:gd name="T46" fmla="*/ 847238989 w 3580"/>
              <a:gd name="T47" fmla="*/ 847586626 h 3841"/>
              <a:gd name="T48" fmla="*/ 847238989 w 3580"/>
              <a:gd name="T49" fmla="*/ 847586626 h 3841"/>
              <a:gd name="T50" fmla="*/ 847238989 w 3580"/>
              <a:gd name="T51" fmla="*/ 847586626 h 3841"/>
              <a:gd name="T52" fmla="*/ 847238989 w 3580"/>
              <a:gd name="T53" fmla="*/ 847586626 h 3841"/>
              <a:gd name="T54" fmla="*/ 847238989 w 3580"/>
              <a:gd name="T55" fmla="*/ 847586626 h 3841"/>
              <a:gd name="T56" fmla="*/ 847238989 w 3580"/>
              <a:gd name="T57" fmla="*/ 847586626 h 3841"/>
              <a:gd name="T58" fmla="*/ 847238989 w 3580"/>
              <a:gd name="T59" fmla="*/ 847586626 h 3841"/>
              <a:gd name="T60" fmla="*/ 847238989 w 3580"/>
              <a:gd name="T61" fmla="*/ 847586626 h 3841"/>
              <a:gd name="T62" fmla="*/ 847238989 w 3580"/>
              <a:gd name="T63" fmla="*/ 847586626 h 3841"/>
              <a:gd name="T64" fmla="*/ 847238989 w 3580"/>
              <a:gd name="T65" fmla="*/ 847586626 h 3841"/>
              <a:gd name="T66" fmla="*/ 847238989 w 3580"/>
              <a:gd name="T67" fmla="*/ 847586626 h 3841"/>
              <a:gd name="T68" fmla="*/ 847238989 w 3580"/>
              <a:gd name="T69" fmla="*/ 847586626 h 3841"/>
              <a:gd name="T70" fmla="*/ 847238989 w 3580"/>
              <a:gd name="T71" fmla="*/ 847586626 h 3841"/>
              <a:gd name="T72" fmla="*/ 847238989 w 3580"/>
              <a:gd name="T73" fmla="*/ 847586626 h 3841"/>
              <a:gd name="T74" fmla="*/ 847238989 w 3580"/>
              <a:gd name="T75" fmla="*/ 847586626 h 3841"/>
              <a:gd name="T76" fmla="*/ 847238989 w 3580"/>
              <a:gd name="T77" fmla="*/ 847586626 h 3841"/>
              <a:gd name="T78" fmla="*/ 847238989 w 3580"/>
              <a:gd name="T79" fmla="*/ 847586626 h 3841"/>
              <a:gd name="T80" fmla="*/ 847238989 w 3580"/>
              <a:gd name="T81" fmla="*/ 847586626 h 3841"/>
              <a:gd name="T82" fmla="*/ 847238989 w 3580"/>
              <a:gd name="T83" fmla="*/ 847586626 h 3841"/>
              <a:gd name="T84" fmla="*/ 847238989 w 3580"/>
              <a:gd name="T85" fmla="*/ 847586626 h 3841"/>
              <a:gd name="T86" fmla="*/ 847238989 w 3580"/>
              <a:gd name="T87" fmla="*/ 847586626 h 3841"/>
              <a:gd name="T88" fmla="*/ 847238989 w 3580"/>
              <a:gd name="T89" fmla="*/ 847586626 h 3841"/>
              <a:gd name="T90" fmla="*/ 847238989 w 3580"/>
              <a:gd name="T91" fmla="*/ 847586626 h 3841"/>
              <a:gd name="T92" fmla="*/ 847238989 w 3580"/>
              <a:gd name="T93" fmla="*/ 847586626 h 3841"/>
              <a:gd name="T94" fmla="*/ 847238989 w 3580"/>
              <a:gd name="T95" fmla="*/ 847586626 h 3841"/>
              <a:gd name="T96" fmla="*/ 847238989 w 3580"/>
              <a:gd name="T97" fmla="*/ 847586626 h 3841"/>
              <a:gd name="T98" fmla="*/ 847238989 w 3580"/>
              <a:gd name="T99" fmla="*/ 847586626 h 3841"/>
              <a:gd name="T100" fmla="*/ 847238989 w 3580"/>
              <a:gd name="T101" fmla="*/ 847586626 h 3841"/>
              <a:gd name="T102" fmla="*/ 847238989 w 3580"/>
              <a:gd name="T103" fmla="*/ 847586626 h 3841"/>
              <a:gd name="T104" fmla="*/ 847238989 w 3580"/>
              <a:gd name="T105" fmla="*/ 847586626 h 3841"/>
              <a:gd name="T106" fmla="*/ 847238989 w 3580"/>
              <a:gd name="T107" fmla="*/ 847586626 h 3841"/>
              <a:gd name="T108" fmla="*/ 847238989 w 3580"/>
              <a:gd name="T109" fmla="*/ 847586626 h 3841"/>
              <a:gd name="T110" fmla="*/ 847238989 w 3580"/>
              <a:gd name="T111" fmla="*/ 847586626 h 3841"/>
              <a:gd name="T112" fmla="*/ 847238989 w 3580"/>
              <a:gd name="T113" fmla="*/ 847586626 h 3841"/>
              <a:gd name="T114" fmla="*/ 847238989 w 3580"/>
              <a:gd name="T115" fmla="*/ 847586626 h 3841"/>
              <a:gd name="T116" fmla="*/ 847238989 w 3580"/>
              <a:gd name="T117" fmla="*/ 847586626 h 3841"/>
              <a:gd name="T118" fmla="*/ 847238989 w 3580"/>
              <a:gd name="T119" fmla="*/ 847586626 h 3841"/>
              <a:gd name="T120" fmla="*/ 847238989 w 3580"/>
              <a:gd name="T121" fmla="*/ 847586626 h 3841"/>
              <a:gd name="T122" fmla="*/ 847238989 w 3580"/>
              <a:gd name="T123" fmla="*/ 847586626 h 3841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580" h="3841">
                <a:moveTo>
                  <a:pt x="3580" y="2640"/>
                </a:moveTo>
                <a:lnTo>
                  <a:pt x="3491" y="1718"/>
                </a:lnTo>
                <a:lnTo>
                  <a:pt x="2890" y="2323"/>
                </a:lnTo>
                <a:lnTo>
                  <a:pt x="2881" y="2251"/>
                </a:lnTo>
                <a:lnTo>
                  <a:pt x="2871" y="2180"/>
                </a:lnTo>
                <a:lnTo>
                  <a:pt x="2859" y="2110"/>
                </a:lnTo>
                <a:lnTo>
                  <a:pt x="2846" y="2042"/>
                </a:lnTo>
                <a:lnTo>
                  <a:pt x="2831" y="1974"/>
                </a:lnTo>
                <a:lnTo>
                  <a:pt x="2816" y="1908"/>
                </a:lnTo>
                <a:lnTo>
                  <a:pt x="2799" y="1844"/>
                </a:lnTo>
                <a:lnTo>
                  <a:pt x="2782" y="1780"/>
                </a:lnTo>
                <a:lnTo>
                  <a:pt x="2762" y="1718"/>
                </a:lnTo>
                <a:lnTo>
                  <a:pt x="2742" y="1657"/>
                </a:lnTo>
                <a:lnTo>
                  <a:pt x="2719" y="1597"/>
                </a:lnTo>
                <a:lnTo>
                  <a:pt x="2697" y="1539"/>
                </a:lnTo>
                <a:lnTo>
                  <a:pt x="2672" y="1480"/>
                </a:lnTo>
                <a:lnTo>
                  <a:pt x="2647" y="1424"/>
                </a:lnTo>
                <a:lnTo>
                  <a:pt x="2620" y="1369"/>
                </a:lnTo>
                <a:lnTo>
                  <a:pt x="2592" y="1314"/>
                </a:lnTo>
                <a:lnTo>
                  <a:pt x="2564" y="1262"/>
                </a:lnTo>
                <a:lnTo>
                  <a:pt x="2533" y="1210"/>
                </a:lnTo>
                <a:lnTo>
                  <a:pt x="2501" y="1160"/>
                </a:lnTo>
                <a:lnTo>
                  <a:pt x="2469" y="1110"/>
                </a:lnTo>
                <a:lnTo>
                  <a:pt x="2435" y="1062"/>
                </a:lnTo>
                <a:lnTo>
                  <a:pt x="2401" y="1014"/>
                </a:lnTo>
                <a:lnTo>
                  <a:pt x="2365" y="968"/>
                </a:lnTo>
                <a:lnTo>
                  <a:pt x="2327" y="924"/>
                </a:lnTo>
                <a:lnTo>
                  <a:pt x="2289" y="880"/>
                </a:lnTo>
                <a:lnTo>
                  <a:pt x="2249" y="838"/>
                </a:lnTo>
                <a:lnTo>
                  <a:pt x="2209" y="797"/>
                </a:lnTo>
                <a:lnTo>
                  <a:pt x="2167" y="756"/>
                </a:lnTo>
                <a:lnTo>
                  <a:pt x="2124" y="717"/>
                </a:lnTo>
                <a:lnTo>
                  <a:pt x="2081" y="678"/>
                </a:lnTo>
                <a:lnTo>
                  <a:pt x="2036" y="641"/>
                </a:lnTo>
                <a:lnTo>
                  <a:pt x="1990" y="605"/>
                </a:lnTo>
                <a:lnTo>
                  <a:pt x="1942" y="570"/>
                </a:lnTo>
                <a:lnTo>
                  <a:pt x="1894" y="536"/>
                </a:lnTo>
                <a:lnTo>
                  <a:pt x="1845" y="504"/>
                </a:lnTo>
                <a:lnTo>
                  <a:pt x="1794" y="472"/>
                </a:lnTo>
                <a:lnTo>
                  <a:pt x="1743" y="442"/>
                </a:lnTo>
                <a:lnTo>
                  <a:pt x="1691" y="412"/>
                </a:lnTo>
                <a:lnTo>
                  <a:pt x="1637" y="383"/>
                </a:lnTo>
                <a:lnTo>
                  <a:pt x="1584" y="356"/>
                </a:lnTo>
                <a:lnTo>
                  <a:pt x="1528" y="330"/>
                </a:lnTo>
                <a:lnTo>
                  <a:pt x="1472" y="304"/>
                </a:lnTo>
                <a:lnTo>
                  <a:pt x="1415" y="280"/>
                </a:lnTo>
                <a:lnTo>
                  <a:pt x="1356" y="256"/>
                </a:lnTo>
                <a:lnTo>
                  <a:pt x="1298" y="234"/>
                </a:lnTo>
                <a:lnTo>
                  <a:pt x="1236" y="213"/>
                </a:lnTo>
                <a:lnTo>
                  <a:pt x="1175" y="193"/>
                </a:lnTo>
                <a:lnTo>
                  <a:pt x="1114" y="173"/>
                </a:lnTo>
                <a:lnTo>
                  <a:pt x="1051" y="155"/>
                </a:lnTo>
                <a:lnTo>
                  <a:pt x="987" y="138"/>
                </a:lnTo>
                <a:lnTo>
                  <a:pt x="923" y="122"/>
                </a:lnTo>
                <a:lnTo>
                  <a:pt x="857" y="107"/>
                </a:lnTo>
                <a:lnTo>
                  <a:pt x="790" y="92"/>
                </a:lnTo>
                <a:lnTo>
                  <a:pt x="722" y="78"/>
                </a:lnTo>
                <a:lnTo>
                  <a:pt x="654" y="67"/>
                </a:lnTo>
                <a:lnTo>
                  <a:pt x="584" y="56"/>
                </a:lnTo>
                <a:lnTo>
                  <a:pt x="514" y="45"/>
                </a:lnTo>
                <a:lnTo>
                  <a:pt x="443" y="36"/>
                </a:lnTo>
                <a:lnTo>
                  <a:pt x="371" y="27"/>
                </a:lnTo>
                <a:lnTo>
                  <a:pt x="299" y="20"/>
                </a:lnTo>
                <a:lnTo>
                  <a:pt x="226" y="14"/>
                </a:lnTo>
                <a:lnTo>
                  <a:pt x="151" y="7"/>
                </a:lnTo>
                <a:lnTo>
                  <a:pt x="76" y="4"/>
                </a:lnTo>
                <a:lnTo>
                  <a:pt x="0" y="0"/>
                </a:lnTo>
                <a:lnTo>
                  <a:pt x="99" y="58"/>
                </a:lnTo>
                <a:lnTo>
                  <a:pt x="194" y="118"/>
                </a:lnTo>
                <a:lnTo>
                  <a:pt x="288" y="180"/>
                </a:lnTo>
                <a:lnTo>
                  <a:pt x="377" y="243"/>
                </a:lnTo>
                <a:lnTo>
                  <a:pt x="466" y="305"/>
                </a:lnTo>
                <a:lnTo>
                  <a:pt x="550" y="370"/>
                </a:lnTo>
                <a:lnTo>
                  <a:pt x="633" y="434"/>
                </a:lnTo>
                <a:lnTo>
                  <a:pt x="712" y="502"/>
                </a:lnTo>
                <a:lnTo>
                  <a:pt x="788" y="569"/>
                </a:lnTo>
                <a:lnTo>
                  <a:pt x="862" y="636"/>
                </a:lnTo>
                <a:lnTo>
                  <a:pt x="933" y="706"/>
                </a:lnTo>
                <a:lnTo>
                  <a:pt x="1000" y="777"/>
                </a:lnTo>
                <a:lnTo>
                  <a:pt x="1065" y="848"/>
                </a:lnTo>
                <a:lnTo>
                  <a:pt x="1096" y="884"/>
                </a:lnTo>
                <a:lnTo>
                  <a:pt x="1126" y="920"/>
                </a:lnTo>
                <a:lnTo>
                  <a:pt x="1156" y="957"/>
                </a:lnTo>
                <a:lnTo>
                  <a:pt x="1184" y="993"/>
                </a:lnTo>
                <a:lnTo>
                  <a:pt x="1213" y="1031"/>
                </a:lnTo>
                <a:lnTo>
                  <a:pt x="1240" y="1068"/>
                </a:lnTo>
                <a:lnTo>
                  <a:pt x="1266" y="1105"/>
                </a:lnTo>
                <a:lnTo>
                  <a:pt x="1293" y="1144"/>
                </a:lnTo>
                <a:lnTo>
                  <a:pt x="1317" y="1181"/>
                </a:lnTo>
                <a:lnTo>
                  <a:pt x="1341" y="1220"/>
                </a:lnTo>
                <a:lnTo>
                  <a:pt x="1365" y="1258"/>
                </a:lnTo>
                <a:lnTo>
                  <a:pt x="1387" y="1298"/>
                </a:lnTo>
                <a:lnTo>
                  <a:pt x="1408" y="1337"/>
                </a:lnTo>
                <a:lnTo>
                  <a:pt x="1429" y="1377"/>
                </a:lnTo>
                <a:lnTo>
                  <a:pt x="1449" y="1417"/>
                </a:lnTo>
                <a:lnTo>
                  <a:pt x="1468" y="1456"/>
                </a:lnTo>
                <a:lnTo>
                  <a:pt x="1487" y="1496"/>
                </a:lnTo>
                <a:lnTo>
                  <a:pt x="1504" y="1537"/>
                </a:lnTo>
                <a:lnTo>
                  <a:pt x="1522" y="1577"/>
                </a:lnTo>
                <a:lnTo>
                  <a:pt x="1538" y="1618"/>
                </a:lnTo>
                <a:lnTo>
                  <a:pt x="1553" y="1659"/>
                </a:lnTo>
                <a:lnTo>
                  <a:pt x="1566" y="1702"/>
                </a:lnTo>
                <a:lnTo>
                  <a:pt x="1580" y="1743"/>
                </a:lnTo>
                <a:lnTo>
                  <a:pt x="1593" y="1785"/>
                </a:lnTo>
                <a:lnTo>
                  <a:pt x="1604" y="1827"/>
                </a:lnTo>
                <a:lnTo>
                  <a:pt x="1615" y="1870"/>
                </a:lnTo>
                <a:lnTo>
                  <a:pt x="1625" y="1913"/>
                </a:lnTo>
                <a:lnTo>
                  <a:pt x="1634" y="1956"/>
                </a:lnTo>
                <a:lnTo>
                  <a:pt x="1642" y="1999"/>
                </a:lnTo>
                <a:lnTo>
                  <a:pt x="1650" y="2043"/>
                </a:lnTo>
                <a:lnTo>
                  <a:pt x="1656" y="2088"/>
                </a:lnTo>
                <a:lnTo>
                  <a:pt x="1661" y="2131"/>
                </a:lnTo>
                <a:lnTo>
                  <a:pt x="1666" y="2176"/>
                </a:lnTo>
                <a:lnTo>
                  <a:pt x="1670" y="2221"/>
                </a:lnTo>
                <a:lnTo>
                  <a:pt x="1672" y="2266"/>
                </a:lnTo>
                <a:lnTo>
                  <a:pt x="1675" y="2310"/>
                </a:lnTo>
                <a:lnTo>
                  <a:pt x="1675" y="2357"/>
                </a:lnTo>
                <a:lnTo>
                  <a:pt x="1676" y="2401"/>
                </a:lnTo>
                <a:lnTo>
                  <a:pt x="1017" y="1953"/>
                </a:lnTo>
                <a:lnTo>
                  <a:pt x="1106" y="2876"/>
                </a:lnTo>
                <a:lnTo>
                  <a:pt x="2445" y="3841"/>
                </a:lnTo>
                <a:lnTo>
                  <a:pt x="3580" y="2640"/>
                </a:lnTo>
                <a:close/>
              </a:path>
            </a:pathLst>
          </a:custGeom>
          <a:solidFill>
            <a:srgbClr val="C00000"/>
          </a:solidFill>
          <a:ln w="38100">
            <a:solidFill>
              <a:schemeClr val="bg1"/>
            </a:solidFill>
          </a:ln>
          <a:extLst/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endParaRPr lang="zh-TW" altLang="en-US" dirty="0"/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480" y="2708920"/>
            <a:ext cx="3631090" cy="3469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360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TW" altLang="en-US" dirty="0">
                <a:latin typeface="微軟正黑體" panose="020B0604030504040204" pitchFamily="34" charset="-120"/>
              </a:rPr>
              <a:t>如何同時呈現多個圖形 </a:t>
            </a:r>
            <a:r>
              <a:rPr lang="en-US" altLang="zh-TW" dirty="0" smtClean="0"/>
              <a:t>(2/3)</a:t>
            </a:r>
            <a:endParaRPr lang="zh-TW" altLang="zh-TW" dirty="0"/>
          </a:p>
        </p:txBody>
      </p:sp>
      <p:sp>
        <p:nvSpPr>
          <p:cNvPr id="48131" name="投影片編號版面配置區 5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85000" lnSpcReduction="20000"/>
          </a:bodyPr>
          <a:lstStyle/>
          <a:p>
            <a:fld id="{B89D914F-295F-4C2E-8701-5119655D00EA}" type="slidenum">
              <a:rPr lang="zh-TW" altLang="en-US"/>
              <a:pPr/>
              <a:t>13</a:t>
            </a:fld>
            <a:endParaRPr lang="en-US" altLang="zh-TW"/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1659052" y="1839718"/>
            <a:ext cx="9549516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/>
            <a:r>
              <a:rPr lang="zh-TW" altLang="en-US" sz="2000" dirty="0" smtClean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使用 </a:t>
            </a:r>
            <a:r>
              <a:rPr lang="en-US" altLang="zh-TW" sz="2000" b="1" dirty="0" smtClean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hold on </a:t>
            </a:r>
            <a:r>
              <a:rPr lang="zh-TW" altLang="en-US" sz="2000" dirty="0" smtClean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重疊</a:t>
            </a:r>
            <a:endParaRPr lang="zh-TW" altLang="en-US" sz="2000" dirty="0"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10" name="Oval 77"/>
          <p:cNvSpPr>
            <a:spLocks noChangeArrowheads="1"/>
          </p:cNvSpPr>
          <p:nvPr/>
        </p:nvSpPr>
        <p:spPr bwMode="auto">
          <a:xfrm>
            <a:off x="983432" y="184482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/>
            <a:r>
              <a:rPr lang="en-US" altLang="zh-TW" sz="2000" dirty="0" smtClean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2</a:t>
            </a:r>
            <a:endParaRPr lang="en-US" sz="2000" dirty="0">
              <a:solidFill>
                <a:srgbClr val="0E457D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pic>
        <p:nvPicPr>
          <p:cNvPr id="3" name="圖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0800" y="2422800"/>
            <a:ext cx="4589112" cy="4140000"/>
          </a:xfrm>
          <a:prstGeom prst="rect">
            <a:avLst/>
          </a:prstGeom>
        </p:spPr>
      </p:pic>
      <p:sp>
        <p:nvSpPr>
          <p:cNvPr id="17" name="KSO_Shape"/>
          <p:cNvSpPr>
            <a:spLocks noChangeAspect="1"/>
          </p:cNvSpPr>
          <p:nvPr/>
        </p:nvSpPr>
        <p:spPr bwMode="auto">
          <a:xfrm rot="18286279">
            <a:off x="5084858" y="3862833"/>
            <a:ext cx="694278" cy="745200"/>
          </a:xfrm>
          <a:custGeom>
            <a:avLst/>
            <a:gdLst>
              <a:gd name="T0" fmla="*/ 847238989 w 3580"/>
              <a:gd name="T1" fmla="*/ 847586626 h 3841"/>
              <a:gd name="T2" fmla="*/ 847238989 w 3580"/>
              <a:gd name="T3" fmla="*/ 847586626 h 3841"/>
              <a:gd name="T4" fmla="*/ 847238989 w 3580"/>
              <a:gd name="T5" fmla="*/ 847586626 h 3841"/>
              <a:gd name="T6" fmla="*/ 847238989 w 3580"/>
              <a:gd name="T7" fmla="*/ 847586626 h 3841"/>
              <a:gd name="T8" fmla="*/ 847238989 w 3580"/>
              <a:gd name="T9" fmla="*/ 847586626 h 3841"/>
              <a:gd name="T10" fmla="*/ 847238989 w 3580"/>
              <a:gd name="T11" fmla="*/ 847586626 h 3841"/>
              <a:gd name="T12" fmla="*/ 847238989 w 3580"/>
              <a:gd name="T13" fmla="*/ 847586626 h 3841"/>
              <a:gd name="T14" fmla="*/ 847238989 w 3580"/>
              <a:gd name="T15" fmla="*/ 847586626 h 3841"/>
              <a:gd name="T16" fmla="*/ 847238989 w 3580"/>
              <a:gd name="T17" fmla="*/ 847586626 h 3841"/>
              <a:gd name="T18" fmla="*/ 847238989 w 3580"/>
              <a:gd name="T19" fmla="*/ 847586626 h 3841"/>
              <a:gd name="T20" fmla="*/ 847238989 w 3580"/>
              <a:gd name="T21" fmla="*/ 847586626 h 3841"/>
              <a:gd name="T22" fmla="*/ 847238989 w 3580"/>
              <a:gd name="T23" fmla="*/ 847586626 h 3841"/>
              <a:gd name="T24" fmla="*/ 847238989 w 3580"/>
              <a:gd name="T25" fmla="*/ 847586626 h 3841"/>
              <a:gd name="T26" fmla="*/ 847238989 w 3580"/>
              <a:gd name="T27" fmla="*/ 847586626 h 3841"/>
              <a:gd name="T28" fmla="*/ 847238989 w 3580"/>
              <a:gd name="T29" fmla="*/ 847586626 h 3841"/>
              <a:gd name="T30" fmla="*/ 847238989 w 3580"/>
              <a:gd name="T31" fmla="*/ 847586626 h 3841"/>
              <a:gd name="T32" fmla="*/ 847238989 w 3580"/>
              <a:gd name="T33" fmla="*/ 847586626 h 3841"/>
              <a:gd name="T34" fmla="*/ 847238989 w 3580"/>
              <a:gd name="T35" fmla="*/ 847586626 h 3841"/>
              <a:gd name="T36" fmla="*/ 847238989 w 3580"/>
              <a:gd name="T37" fmla="*/ 847586626 h 3841"/>
              <a:gd name="T38" fmla="*/ 847238989 w 3580"/>
              <a:gd name="T39" fmla="*/ 847586626 h 3841"/>
              <a:gd name="T40" fmla="*/ 847238989 w 3580"/>
              <a:gd name="T41" fmla="*/ 847586626 h 3841"/>
              <a:gd name="T42" fmla="*/ 847238989 w 3580"/>
              <a:gd name="T43" fmla="*/ 847586626 h 3841"/>
              <a:gd name="T44" fmla="*/ 847238989 w 3580"/>
              <a:gd name="T45" fmla="*/ 847586626 h 3841"/>
              <a:gd name="T46" fmla="*/ 847238989 w 3580"/>
              <a:gd name="T47" fmla="*/ 847586626 h 3841"/>
              <a:gd name="T48" fmla="*/ 847238989 w 3580"/>
              <a:gd name="T49" fmla="*/ 847586626 h 3841"/>
              <a:gd name="T50" fmla="*/ 847238989 w 3580"/>
              <a:gd name="T51" fmla="*/ 847586626 h 3841"/>
              <a:gd name="T52" fmla="*/ 847238989 w 3580"/>
              <a:gd name="T53" fmla="*/ 847586626 h 3841"/>
              <a:gd name="T54" fmla="*/ 847238989 w 3580"/>
              <a:gd name="T55" fmla="*/ 847586626 h 3841"/>
              <a:gd name="T56" fmla="*/ 847238989 w 3580"/>
              <a:gd name="T57" fmla="*/ 847586626 h 3841"/>
              <a:gd name="T58" fmla="*/ 847238989 w 3580"/>
              <a:gd name="T59" fmla="*/ 847586626 h 3841"/>
              <a:gd name="T60" fmla="*/ 847238989 w 3580"/>
              <a:gd name="T61" fmla="*/ 847586626 h 3841"/>
              <a:gd name="T62" fmla="*/ 847238989 w 3580"/>
              <a:gd name="T63" fmla="*/ 847586626 h 3841"/>
              <a:gd name="T64" fmla="*/ 847238989 w 3580"/>
              <a:gd name="T65" fmla="*/ 847586626 h 3841"/>
              <a:gd name="T66" fmla="*/ 847238989 w 3580"/>
              <a:gd name="T67" fmla="*/ 847586626 h 3841"/>
              <a:gd name="T68" fmla="*/ 847238989 w 3580"/>
              <a:gd name="T69" fmla="*/ 847586626 h 3841"/>
              <a:gd name="T70" fmla="*/ 847238989 w 3580"/>
              <a:gd name="T71" fmla="*/ 847586626 h 3841"/>
              <a:gd name="T72" fmla="*/ 847238989 w 3580"/>
              <a:gd name="T73" fmla="*/ 847586626 h 3841"/>
              <a:gd name="T74" fmla="*/ 847238989 w 3580"/>
              <a:gd name="T75" fmla="*/ 847586626 h 3841"/>
              <a:gd name="T76" fmla="*/ 847238989 w 3580"/>
              <a:gd name="T77" fmla="*/ 847586626 h 3841"/>
              <a:gd name="T78" fmla="*/ 847238989 w 3580"/>
              <a:gd name="T79" fmla="*/ 847586626 h 3841"/>
              <a:gd name="T80" fmla="*/ 847238989 w 3580"/>
              <a:gd name="T81" fmla="*/ 847586626 h 3841"/>
              <a:gd name="T82" fmla="*/ 847238989 w 3580"/>
              <a:gd name="T83" fmla="*/ 847586626 h 3841"/>
              <a:gd name="T84" fmla="*/ 847238989 w 3580"/>
              <a:gd name="T85" fmla="*/ 847586626 h 3841"/>
              <a:gd name="T86" fmla="*/ 847238989 w 3580"/>
              <a:gd name="T87" fmla="*/ 847586626 h 3841"/>
              <a:gd name="T88" fmla="*/ 847238989 w 3580"/>
              <a:gd name="T89" fmla="*/ 847586626 h 3841"/>
              <a:gd name="T90" fmla="*/ 847238989 w 3580"/>
              <a:gd name="T91" fmla="*/ 847586626 h 3841"/>
              <a:gd name="T92" fmla="*/ 847238989 w 3580"/>
              <a:gd name="T93" fmla="*/ 847586626 h 3841"/>
              <a:gd name="T94" fmla="*/ 847238989 w 3580"/>
              <a:gd name="T95" fmla="*/ 847586626 h 3841"/>
              <a:gd name="T96" fmla="*/ 847238989 w 3580"/>
              <a:gd name="T97" fmla="*/ 847586626 h 3841"/>
              <a:gd name="T98" fmla="*/ 847238989 w 3580"/>
              <a:gd name="T99" fmla="*/ 847586626 h 3841"/>
              <a:gd name="T100" fmla="*/ 847238989 w 3580"/>
              <a:gd name="T101" fmla="*/ 847586626 h 3841"/>
              <a:gd name="T102" fmla="*/ 847238989 w 3580"/>
              <a:gd name="T103" fmla="*/ 847586626 h 3841"/>
              <a:gd name="T104" fmla="*/ 847238989 w 3580"/>
              <a:gd name="T105" fmla="*/ 847586626 h 3841"/>
              <a:gd name="T106" fmla="*/ 847238989 w 3580"/>
              <a:gd name="T107" fmla="*/ 847586626 h 3841"/>
              <a:gd name="T108" fmla="*/ 847238989 w 3580"/>
              <a:gd name="T109" fmla="*/ 847586626 h 3841"/>
              <a:gd name="T110" fmla="*/ 847238989 w 3580"/>
              <a:gd name="T111" fmla="*/ 847586626 h 3841"/>
              <a:gd name="T112" fmla="*/ 847238989 w 3580"/>
              <a:gd name="T113" fmla="*/ 847586626 h 3841"/>
              <a:gd name="T114" fmla="*/ 847238989 w 3580"/>
              <a:gd name="T115" fmla="*/ 847586626 h 3841"/>
              <a:gd name="T116" fmla="*/ 847238989 w 3580"/>
              <a:gd name="T117" fmla="*/ 847586626 h 3841"/>
              <a:gd name="T118" fmla="*/ 847238989 w 3580"/>
              <a:gd name="T119" fmla="*/ 847586626 h 3841"/>
              <a:gd name="T120" fmla="*/ 847238989 w 3580"/>
              <a:gd name="T121" fmla="*/ 847586626 h 3841"/>
              <a:gd name="T122" fmla="*/ 847238989 w 3580"/>
              <a:gd name="T123" fmla="*/ 847586626 h 3841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580" h="3841">
                <a:moveTo>
                  <a:pt x="3580" y="2640"/>
                </a:moveTo>
                <a:lnTo>
                  <a:pt x="3491" y="1718"/>
                </a:lnTo>
                <a:lnTo>
                  <a:pt x="2890" y="2323"/>
                </a:lnTo>
                <a:lnTo>
                  <a:pt x="2881" y="2251"/>
                </a:lnTo>
                <a:lnTo>
                  <a:pt x="2871" y="2180"/>
                </a:lnTo>
                <a:lnTo>
                  <a:pt x="2859" y="2110"/>
                </a:lnTo>
                <a:lnTo>
                  <a:pt x="2846" y="2042"/>
                </a:lnTo>
                <a:lnTo>
                  <a:pt x="2831" y="1974"/>
                </a:lnTo>
                <a:lnTo>
                  <a:pt x="2816" y="1908"/>
                </a:lnTo>
                <a:lnTo>
                  <a:pt x="2799" y="1844"/>
                </a:lnTo>
                <a:lnTo>
                  <a:pt x="2782" y="1780"/>
                </a:lnTo>
                <a:lnTo>
                  <a:pt x="2762" y="1718"/>
                </a:lnTo>
                <a:lnTo>
                  <a:pt x="2742" y="1657"/>
                </a:lnTo>
                <a:lnTo>
                  <a:pt x="2719" y="1597"/>
                </a:lnTo>
                <a:lnTo>
                  <a:pt x="2697" y="1539"/>
                </a:lnTo>
                <a:lnTo>
                  <a:pt x="2672" y="1480"/>
                </a:lnTo>
                <a:lnTo>
                  <a:pt x="2647" y="1424"/>
                </a:lnTo>
                <a:lnTo>
                  <a:pt x="2620" y="1369"/>
                </a:lnTo>
                <a:lnTo>
                  <a:pt x="2592" y="1314"/>
                </a:lnTo>
                <a:lnTo>
                  <a:pt x="2564" y="1262"/>
                </a:lnTo>
                <a:lnTo>
                  <a:pt x="2533" y="1210"/>
                </a:lnTo>
                <a:lnTo>
                  <a:pt x="2501" y="1160"/>
                </a:lnTo>
                <a:lnTo>
                  <a:pt x="2469" y="1110"/>
                </a:lnTo>
                <a:lnTo>
                  <a:pt x="2435" y="1062"/>
                </a:lnTo>
                <a:lnTo>
                  <a:pt x="2401" y="1014"/>
                </a:lnTo>
                <a:lnTo>
                  <a:pt x="2365" y="968"/>
                </a:lnTo>
                <a:lnTo>
                  <a:pt x="2327" y="924"/>
                </a:lnTo>
                <a:lnTo>
                  <a:pt x="2289" y="880"/>
                </a:lnTo>
                <a:lnTo>
                  <a:pt x="2249" y="838"/>
                </a:lnTo>
                <a:lnTo>
                  <a:pt x="2209" y="797"/>
                </a:lnTo>
                <a:lnTo>
                  <a:pt x="2167" y="756"/>
                </a:lnTo>
                <a:lnTo>
                  <a:pt x="2124" y="717"/>
                </a:lnTo>
                <a:lnTo>
                  <a:pt x="2081" y="678"/>
                </a:lnTo>
                <a:lnTo>
                  <a:pt x="2036" y="641"/>
                </a:lnTo>
                <a:lnTo>
                  <a:pt x="1990" y="605"/>
                </a:lnTo>
                <a:lnTo>
                  <a:pt x="1942" y="570"/>
                </a:lnTo>
                <a:lnTo>
                  <a:pt x="1894" y="536"/>
                </a:lnTo>
                <a:lnTo>
                  <a:pt x="1845" y="504"/>
                </a:lnTo>
                <a:lnTo>
                  <a:pt x="1794" y="472"/>
                </a:lnTo>
                <a:lnTo>
                  <a:pt x="1743" y="442"/>
                </a:lnTo>
                <a:lnTo>
                  <a:pt x="1691" y="412"/>
                </a:lnTo>
                <a:lnTo>
                  <a:pt x="1637" y="383"/>
                </a:lnTo>
                <a:lnTo>
                  <a:pt x="1584" y="356"/>
                </a:lnTo>
                <a:lnTo>
                  <a:pt x="1528" y="330"/>
                </a:lnTo>
                <a:lnTo>
                  <a:pt x="1472" y="304"/>
                </a:lnTo>
                <a:lnTo>
                  <a:pt x="1415" y="280"/>
                </a:lnTo>
                <a:lnTo>
                  <a:pt x="1356" y="256"/>
                </a:lnTo>
                <a:lnTo>
                  <a:pt x="1298" y="234"/>
                </a:lnTo>
                <a:lnTo>
                  <a:pt x="1236" y="213"/>
                </a:lnTo>
                <a:lnTo>
                  <a:pt x="1175" y="193"/>
                </a:lnTo>
                <a:lnTo>
                  <a:pt x="1114" y="173"/>
                </a:lnTo>
                <a:lnTo>
                  <a:pt x="1051" y="155"/>
                </a:lnTo>
                <a:lnTo>
                  <a:pt x="987" y="138"/>
                </a:lnTo>
                <a:lnTo>
                  <a:pt x="923" y="122"/>
                </a:lnTo>
                <a:lnTo>
                  <a:pt x="857" y="107"/>
                </a:lnTo>
                <a:lnTo>
                  <a:pt x="790" y="92"/>
                </a:lnTo>
                <a:lnTo>
                  <a:pt x="722" y="78"/>
                </a:lnTo>
                <a:lnTo>
                  <a:pt x="654" y="67"/>
                </a:lnTo>
                <a:lnTo>
                  <a:pt x="584" y="56"/>
                </a:lnTo>
                <a:lnTo>
                  <a:pt x="514" y="45"/>
                </a:lnTo>
                <a:lnTo>
                  <a:pt x="443" y="36"/>
                </a:lnTo>
                <a:lnTo>
                  <a:pt x="371" y="27"/>
                </a:lnTo>
                <a:lnTo>
                  <a:pt x="299" y="20"/>
                </a:lnTo>
                <a:lnTo>
                  <a:pt x="226" y="14"/>
                </a:lnTo>
                <a:lnTo>
                  <a:pt x="151" y="7"/>
                </a:lnTo>
                <a:lnTo>
                  <a:pt x="76" y="4"/>
                </a:lnTo>
                <a:lnTo>
                  <a:pt x="0" y="0"/>
                </a:lnTo>
                <a:lnTo>
                  <a:pt x="99" y="58"/>
                </a:lnTo>
                <a:lnTo>
                  <a:pt x="194" y="118"/>
                </a:lnTo>
                <a:lnTo>
                  <a:pt x="288" y="180"/>
                </a:lnTo>
                <a:lnTo>
                  <a:pt x="377" y="243"/>
                </a:lnTo>
                <a:lnTo>
                  <a:pt x="466" y="305"/>
                </a:lnTo>
                <a:lnTo>
                  <a:pt x="550" y="370"/>
                </a:lnTo>
                <a:lnTo>
                  <a:pt x="633" y="434"/>
                </a:lnTo>
                <a:lnTo>
                  <a:pt x="712" y="502"/>
                </a:lnTo>
                <a:lnTo>
                  <a:pt x="788" y="569"/>
                </a:lnTo>
                <a:lnTo>
                  <a:pt x="862" y="636"/>
                </a:lnTo>
                <a:lnTo>
                  <a:pt x="933" y="706"/>
                </a:lnTo>
                <a:lnTo>
                  <a:pt x="1000" y="777"/>
                </a:lnTo>
                <a:lnTo>
                  <a:pt x="1065" y="848"/>
                </a:lnTo>
                <a:lnTo>
                  <a:pt x="1096" y="884"/>
                </a:lnTo>
                <a:lnTo>
                  <a:pt x="1126" y="920"/>
                </a:lnTo>
                <a:lnTo>
                  <a:pt x="1156" y="957"/>
                </a:lnTo>
                <a:lnTo>
                  <a:pt x="1184" y="993"/>
                </a:lnTo>
                <a:lnTo>
                  <a:pt x="1213" y="1031"/>
                </a:lnTo>
                <a:lnTo>
                  <a:pt x="1240" y="1068"/>
                </a:lnTo>
                <a:lnTo>
                  <a:pt x="1266" y="1105"/>
                </a:lnTo>
                <a:lnTo>
                  <a:pt x="1293" y="1144"/>
                </a:lnTo>
                <a:lnTo>
                  <a:pt x="1317" y="1181"/>
                </a:lnTo>
                <a:lnTo>
                  <a:pt x="1341" y="1220"/>
                </a:lnTo>
                <a:lnTo>
                  <a:pt x="1365" y="1258"/>
                </a:lnTo>
                <a:lnTo>
                  <a:pt x="1387" y="1298"/>
                </a:lnTo>
                <a:lnTo>
                  <a:pt x="1408" y="1337"/>
                </a:lnTo>
                <a:lnTo>
                  <a:pt x="1429" y="1377"/>
                </a:lnTo>
                <a:lnTo>
                  <a:pt x="1449" y="1417"/>
                </a:lnTo>
                <a:lnTo>
                  <a:pt x="1468" y="1456"/>
                </a:lnTo>
                <a:lnTo>
                  <a:pt x="1487" y="1496"/>
                </a:lnTo>
                <a:lnTo>
                  <a:pt x="1504" y="1537"/>
                </a:lnTo>
                <a:lnTo>
                  <a:pt x="1522" y="1577"/>
                </a:lnTo>
                <a:lnTo>
                  <a:pt x="1538" y="1618"/>
                </a:lnTo>
                <a:lnTo>
                  <a:pt x="1553" y="1659"/>
                </a:lnTo>
                <a:lnTo>
                  <a:pt x="1566" y="1702"/>
                </a:lnTo>
                <a:lnTo>
                  <a:pt x="1580" y="1743"/>
                </a:lnTo>
                <a:lnTo>
                  <a:pt x="1593" y="1785"/>
                </a:lnTo>
                <a:lnTo>
                  <a:pt x="1604" y="1827"/>
                </a:lnTo>
                <a:lnTo>
                  <a:pt x="1615" y="1870"/>
                </a:lnTo>
                <a:lnTo>
                  <a:pt x="1625" y="1913"/>
                </a:lnTo>
                <a:lnTo>
                  <a:pt x="1634" y="1956"/>
                </a:lnTo>
                <a:lnTo>
                  <a:pt x="1642" y="1999"/>
                </a:lnTo>
                <a:lnTo>
                  <a:pt x="1650" y="2043"/>
                </a:lnTo>
                <a:lnTo>
                  <a:pt x="1656" y="2088"/>
                </a:lnTo>
                <a:lnTo>
                  <a:pt x="1661" y="2131"/>
                </a:lnTo>
                <a:lnTo>
                  <a:pt x="1666" y="2176"/>
                </a:lnTo>
                <a:lnTo>
                  <a:pt x="1670" y="2221"/>
                </a:lnTo>
                <a:lnTo>
                  <a:pt x="1672" y="2266"/>
                </a:lnTo>
                <a:lnTo>
                  <a:pt x="1675" y="2310"/>
                </a:lnTo>
                <a:lnTo>
                  <a:pt x="1675" y="2357"/>
                </a:lnTo>
                <a:lnTo>
                  <a:pt x="1676" y="2401"/>
                </a:lnTo>
                <a:lnTo>
                  <a:pt x="1017" y="1953"/>
                </a:lnTo>
                <a:lnTo>
                  <a:pt x="1106" y="2876"/>
                </a:lnTo>
                <a:lnTo>
                  <a:pt x="2445" y="3841"/>
                </a:lnTo>
                <a:lnTo>
                  <a:pt x="3580" y="2640"/>
                </a:lnTo>
                <a:close/>
              </a:path>
            </a:pathLst>
          </a:custGeom>
          <a:solidFill>
            <a:srgbClr val="C00000"/>
          </a:solidFill>
          <a:ln w="38100">
            <a:solidFill>
              <a:schemeClr val="bg1"/>
            </a:solidFill>
          </a:ln>
          <a:extLst/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" name="內容版面配置區 1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endParaRPr lang="zh-TW" altLang="en-US" dirty="0"/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0023" y="2534586"/>
            <a:ext cx="3386161" cy="3401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613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TW" altLang="en-US" dirty="0">
                <a:latin typeface="微軟正黑體" panose="020B0604030504040204" pitchFamily="34" charset="-120"/>
              </a:rPr>
              <a:t>如何同時呈現多個圖形 </a:t>
            </a:r>
            <a:r>
              <a:rPr lang="en-US" altLang="zh-TW" dirty="0" smtClean="0"/>
              <a:t>(3/3)</a:t>
            </a:r>
            <a:endParaRPr lang="zh-TW" altLang="zh-TW" dirty="0"/>
          </a:p>
        </p:txBody>
      </p:sp>
      <p:sp>
        <p:nvSpPr>
          <p:cNvPr id="48131" name="投影片編號版面配置區 5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85000" lnSpcReduction="20000"/>
          </a:bodyPr>
          <a:lstStyle/>
          <a:p>
            <a:fld id="{B89D914F-295F-4C2E-8701-5119655D00EA}" type="slidenum">
              <a:rPr lang="zh-TW" altLang="en-US"/>
              <a:pPr/>
              <a:t>14</a:t>
            </a:fld>
            <a:endParaRPr lang="en-US" altLang="zh-TW"/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1659052" y="1839718"/>
            <a:ext cx="9549516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/>
            <a:r>
              <a:rPr lang="zh-TW" altLang="en-US" sz="2000" dirty="0" smtClean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使用 </a:t>
            </a:r>
            <a:r>
              <a:rPr lang="en-US" altLang="zh-TW" sz="2000" b="1" dirty="0" smtClean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subplot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分割視窗呈現數個子圖形</a:t>
            </a:r>
          </a:p>
        </p:txBody>
      </p:sp>
      <p:sp>
        <p:nvSpPr>
          <p:cNvPr id="10" name="Oval 77"/>
          <p:cNvSpPr>
            <a:spLocks noChangeArrowheads="1"/>
          </p:cNvSpPr>
          <p:nvPr/>
        </p:nvSpPr>
        <p:spPr bwMode="auto">
          <a:xfrm>
            <a:off x="983432" y="184482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/>
            <a:r>
              <a:rPr lang="en-US" altLang="zh-TW" sz="2000" dirty="0" smtClean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3</a:t>
            </a:r>
            <a:endParaRPr lang="en-US" sz="2000" dirty="0">
              <a:solidFill>
                <a:srgbClr val="0E457D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0800" y="2422800"/>
            <a:ext cx="4589112" cy="4140000"/>
          </a:xfrm>
          <a:prstGeom prst="rect">
            <a:avLst/>
          </a:prstGeom>
        </p:spPr>
      </p:pic>
      <p:sp>
        <p:nvSpPr>
          <p:cNvPr id="17" name="KSO_Shape"/>
          <p:cNvSpPr>
            <a:spLocks noChangeAspect="1"/>
          </p:cNvSpPr>
          <p:nvPr/>
        </p:nvSpPr>
        <p:spPr bwMode="auto">
          <a:xfrm rot="18286279">
            <a:off x="5084858" y="3862833"/>
            <a:ext cx="694278" cy="745200"/>
          </a:xfrm>
          <a:custGeom>
            <a:avLst/>
            <a:gdLst>
              <a:gd name="T0" fmla="*/ 847238989 w 3580"/>
              <a:gd name="T1" fmla="*/ 847586626 h 3841"/>
              <a:gd name="T2" fmla="*/ 847238989 w 3580"/>
              <a:gd name="T3" fmla="*/ 847586626 h 3841"/>
              <a:gd name="T4" fmla="*/ 847238989 w 3580"/>
              <a:gd name="T5" fmla="*/ 847586626 h 3841"/>
              <a:gd name="T6" fmla="*/ 847238989 w 3580"/>
              <a:gd name="T7" fmla="*/ 847586626 h 3841"/>
              <a:gd name="T8" fmla="*/ 847238989 w 3580"/>
              <a:gd name="T9" fmla="*/ 847586626 h 3841"/>
              <a:gd name="T10" fmla="*/ 847238989 w 3580"/>
              <a:gd name="T11" fmla="*/ 847586626 h 3841"/>
              <a:gd name="T12" fmla="*/ 847238989 w 3580"/>
              <a:gd name="T13" fmla="*/ 847586626 h 3841"/>
              <a:gd name="T14" fmla="*/ 847238989 w 3580"/>
              <a:gd name="T15" fmla="*/ 847586626 h 3841"/>
              <a:gd name="T16" fmla="*/ 847238989 w 3580"/>
              <a:gd name="T17" fmla="*/ 847586626 h 3841"/>
              <a:gd name="T18" fmla="*/ 847238989 w 3580"/>
              <a:gd name="T19" fmla="*/ 847586626 h 3841"/>
              <a:gd name="T20" fmla="*/ 847238989 w 3580"/>
              <a:gd name="T21" fmla="*/ 847586626 h 3841"/>
              <a:gd name="T22" fmla="*/ 847238989 w 3580"/>
              <a:gd name="T23" fmla="*/ 847586626 h 3841"/>
              <a:gd name="T24" fmla="*/ 847238989 w 3580"/>
              <a:gd name="T25" fmla="*/ 847586626 h 3841"/>
              <a:gd name="T26" fmla="*/ 847238989 w 3580"/>
              <a:gd name="T27" fmla="*/ 847586626 h 3841"/>
              <a:gd name="T28" fmla="*/ 847238989 w 3580"/>
              <a:gd name="T29" fmla="*/ 847586626 h 3841"/>
              <a:gd name="T30" fmla="*/ 847238989 w 3580"/>
              <a:gd name="T31" fmla="*/ 847586626 h 3841"/>
              <a:gd name="T32" fmla="*/ 847238989 w 3580"/>
              <a:gd name="T33" fmla="*/ 847586626 h 3841"/>
              <a:gd name="T34" fmla="*/ 847238989 w 3580"/>
              <a:gd name="T35" fmla="*/ 847586626 h 3841"/>
              <a:gd name="T36" fmla="*/ 847238989 w 3580"/>
              <a:gd name="T37" fmla="*/ 847586626 h 3841"/>
              <a:gd name="T38" fmla="*/ 847238989 w 3580"/>
              <a:gd name="T39" fmla="*/ 847586626 h 3841"/>
              <a:gd name="T40" fmla="*/ 847238989 w 3580"/>
              <a:gd name="T41" fmla="*/ 847586626 h 3841"/>
              <a:gd name="T42" fmla="*/ 847238989 w 3580"/>
              <a:gd name="T43" fmla="*/ 847586626 h 3841"/>
              <a:gd name="T44" fmla="*/ 847238989 w 3580"/>
              <a:gd name="T45" fmla="*/ 847586626 h 3841"/>
              <a:gd name="T46" fmla="*/ 847238989 w 3580"/>
              <a:gd name="T47" fmla="*/ 847586626 h 3841"/>
              <a:gd name="T48" fmla="*/ 847238989 w 3580"/>
              <a:gd name="T49" fmla="*/ 847586626 h 3841"/>
              <a:gd name="T50" fmla="*/ 847238989 w 3580"/>
              <a:gd name="T51" fmla="*/ 847586626 h 3841"/>
              <a:gd name="T52" fmla="*/ 847238989 w 3580"/>
              <a:gd name="T53" fmla="*/ 847586626 h 3841"/>
              <a:gd name="T54" fmla="*/ 847238989 w 3580"/>
              <a:gd name="T55" fmla="*/ 847586626 h 3841"/>
              <a:gd name="T56" fmla="*/ 847238989 w 3580"/>
              <a:gd name="T57" fmla="*/ 847586626 h 3841"/>
              <a:gd name="T58" fmla="*/ 847238989 w 3580"/>
              <a:gd name="T59" fmla="*/ 847586626 h 3841"/>
              <a:gd name="T60" fmla="*/ 847238989 w 3580"/>
              <a:gd name="T61" fmla="*/ 847586626 h 3841"/>
              <a:gd name="T62" fmla="*/ 847238989 w 3580"/>
              <a:gd name="T63" fmla="*/ 847586626 h 3841"/>
              <a:gd name="T64" fmla="*/ 847238989 w 3580"/>
              <a:gd name="T65" fmla="*/ 847586626 h 3841"/>
              <a:gd name="T66" fmla="*/ 847238989 w 3580"/>
              <a:gd name="T67" fmla="*/ 847586626 h 3841"/>
              <a:gd name="T68" fmla="*/ 847238989 w 3580"/>
              <a:gd name="T69" fmla="*/ 847586626 h 3841"/>
              <a:gd name="T70" fmla="*/ 847238989 w 3580"/>
              <a:gd name="T71" fmla="*/ 847586626 h 3841"/>
              <a:gd name="T72" fmla="*/ 847238989 w 3580"/>
              <a:gd name="T73" fmla="*/ 847586626 h 3841"/>
              <a:gd name="T74" fmla="*/ 847238989 w 3580"/>
              <a:gd name="T75" fmla="*/ 847586626 h 3841"/>
              <a:gd name="T76" fmla="*/ 847238989 w 3580"/>
              <a:gd name="T77" fmla="*/ 847586626 h 3841"/>
              <a:gd name="T78" fmla="*/ 847238989 w 3580"/>
              <a:gd name="T79" fmla="*/ 847586626 h 3841"/>
              <a:gd name="T80" fmla="*/ 847238989 w 3580"/>
              <a:gd name="T81" fmla="*/ 847586626 h 3841"/>
              <a:gd name="T82" fmla="*/ 847238989 w 3580"/>
              <a:gd name="T83" fmla="*/ 847586626 h 3841"/>
              <a:gd name="T84" fmla="*/ 847238989 w 3580"/>
              <a:gd name="T85" fmla="*/ 847586626 h 3841"/>
              <a:gd name="T86" fmla="*/ 847238989 w 3580"/>
              <a:gd name="T87" fmla="*/ 847586626 h 3841"/>
              <a:gd name="T88" fmla="*/ 847238989 w 3580"/>
              <a:gd name="T89" fmla="*/ 847586626 h 3841"/>
              <a:gd name="T90" fmla="*/ 847238989 w 3580"/>
              <a:gd name="T91" fmla="*/ 847586626 h 3841"/>
              <a:gd name="T92" fmla="*/ 847238989 w 3580"/>
              <a:gd name="T93" fmla="*/ 847586626 h 3841"/>
              <a:gd name="T94" fmla="*/ 847238989 w 3580"/>
              <a:gd name="T95" fmla="*/ 847586626 h 3841"/>
              <a:gd name="T96" fmla="*/ 847238989 w 3580"/>
              <a:gd name="T97" fmla="*/ 847586626 h 3841"/>
              <a:gd name="T98" fmla="*/ 847238989 w 3580"/>
              <a:gd name="T99" fmla="*/ 847586626 h 3841"/>
              <a:gd name="T100" fmla="*/ 847238989 w 3580"/>
              <a:gd name="T101" fmla="*/ 847586626 h 3841"/>
              <a:gd name="T102" fmla="*/ 847238989 w 3580"/>
              <a:gd name="T103" fmla="*/ 847586626 h 3841"/>
              <a:gd name="T104" fmla="*/ 847238989 w 3580"/>
              <a:gd name="T105" fmla="*/ 847586626 h 3841"/>
              <a:gd name="T106" fmla="*/ 847238989 w 3580"/>
              <a:gd name="T107" fmla="*/ 847586626 h 3841"/>
              <a:gd name="T108" fmla="*/ 847238989 w 3580"/>
              <a:gd name="T109" fmla="*/ 847586626 h 3841"/>
              <a:gd name="T110" fmla="*/ 847238989 w 3580"/>
              <a:gd name="T111" fmla="*/ 847586626 h 3841"/>
              <a:gd name="T112" fmla="*/ 847238989 w 3580"/>
              <a:gd name="T113" fmla="*/ 847586626 h 3841"/>
              <a:gd name="T114" fmla="*/ 847238989 w 3580"/>
              <a:gd name="T115" fmla="*/ 847586626 h 3841"/>
              <a:gd name="T116" fmla="*/ 847238989 w 3580"/>
              <a:gd name="T117" fmla="*/ 847586626 h 3841"/>
              <a:gd name="T118" fmla="*/ 847238989 w 3580"/>
              <a:gd name="T119" fmla="*/ 847586626 h 3841"/>
              <a:gd name="T120" fmla="*/ 847238989 w 3580"/>
              <a:gd name="T121" fmla="*/ 847586626 h 3841"/>
              <a:gd name="T122" fmla="*/ 847238989 w 3580"/>
              <a:gd name="T123" fmla="*/ 847586626 h 3841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580" h="3841">
                <a:moveTo>
                  <a:pt x="3580" y="2640"/>
                </a:moveTo>
                <a:lnTo>
                  <a:pt x="3491" y="1718"/>
                </a:lnTo>
                <a:lnTo>
                  <a:pt x="2890" y="2323"/>
                </a:lnTo>
                <a:lnTo>
                  <a:pt x="2881" y="2251"/>
                </a:lnTo>
                <a:lnTo>
                  <a:pt x="2871" y="2180"/>
                </a:lnTo>
                <a:lnTo>
                  <a:pt x="2859" y="2110"/>
                </a:lnTo>
                <a:lnTo>
                  <a:pt x="2846" y="2042"/>
                </a:lnTo>
                <a:lnTo>
                  <a:pt x="2831" y="1974"/>
                </a:lnTo>
                <a:lnTo>
                  <a:pt x="2816" y="1908"/>
                </a:lnTo>
                <a:lnTo>
                  <a:pt x="2799" y="1844"/>
                </a:lnTo>
                <a:lnTo>
                  <a:pt x="2782" y="1780"/>
                </a:lnTo>
                <a:lnTo>
                  <a:pt x="2762" y="1718"/>
                </a:lnTo>
                <a:lnTo>
                  <a:pt x="2742" y="1657"/>
                </a:lnTo>
                <a:lnTo>
                  <a:pt x="2719" y="1597"/>
                </a:lnTo>
                <a:lnTo>
                  <a:pt x="2697" y="1539"/>
                </a:lnTo>
                <a:lnTo>
                  <a:pt x="2672" y="1480"/>
                </a:lnTo>
                <a:lnTo>
                  <a:pt x="2647" y="1424"/>
                </a:lnTo>
                <a:lnTo>
                  <a:pt x="2620" y="1369"/>
                </a:lnTo>
                <a:lnTo>
                  <a:pt x="2592" y="1314"/>
                </a:lnTo>
                <a:lnTo>
                  <a:pt x="2564" y="1262"/>
                </a:lnTo>
                <a:lnTo>
                  <a:pt x="2533" y="1210"/>
                </a:lnTo>
                <a:lnTo>
                  <a:pt x="2501" y="1160"/>
                </a:lnTo>
                <a:lnTo>
                  <a:pt x="2469" y="1110"/>
                </a:lnTo>
                <a:lnTo>
                  <a:pt x="2435" y="1062"/>
                </a:lnTo>
                <a:lnTo>
                  <a:pt x="2401" y="1014"/>
                </a:lnTo>
                <a:lnTo>
                  <a:pt x="2365" y="968"/>
                </a:lnTo>
                <a:lnTo>
                  <a:pt x="2327" y="924"/>
                </a:lnTo>
                <a:lnTo>
                  <a:pt x="2289" y="880"/>
                </a:lnTo>
                <a:lnTo>
                  <a:pt x="2249" y="838"/>
                </a:lnTo>
                <a:lnTo>
                  <a:pt x="2209" y="797"/>
                </a:lnTo>
                <a:lnTo>
                  <a:pt x="2167" y="756"/>
                </a:lnTo>
                <a:lnTo>
                  <a:pt x="2124" y="717"/>
                </a:lnTo>
                <a:lnTo>
                  <a:pt x="2081" y="678"/>
                </a:lnTo>
                <a:lnTo>
                  <a:pt x="2036" y="641"/>
                </a:lnTo>
                <a:lnTo>
                  <a:pt x="1990" y="605"/>
                </a:lnTo>
                <a:lnTo>
                  <a:pt x="1942" y="570"/>
                </a:lnTo>
                <a:lnTo>
                  <a:pt x="1894" y="536"/>
                </a:lnTo>
                <a:lnTo>
                  <a:pt x="1845" y="504"/>
                </a:lnTo>
                <a:lnTo>
                  <a:pt x="1794" y="472"/>
                </a:lnTo>
                <a:lnTo>
                  <a:pt x="1743" y="442"/>
                </a:lnTo>
                <a:lnTo>
                  <a:pt x="1691" y="412"/>
                </a:lnTo>
                <a:lnTo>
                  <a:pt x="1637" y="383"/>
                </a:lnTo>
                <a:lnTo>
                  <a:pt x="1584" y="356"/>
                </a:lnTo>
                <a:lnTo>
                  <a:pt x="1528" y="330"/>
                </a:lnTo>
                <a:lnTo>
                  <a:pt x="1472" y="304"/>
                </a:lnTo>
                <a:lnTo>
                  <a:pt x="1415" y="280"/>
                </a:lnTo>
                <a:lnTo>
                  <a:pt x="1356" y="256"/>
                </a:lnTo>
                <a:lnTo>
                  <a:pt x="1298" y="234"/>
                </a:lnTo>
                <a:lnTo>
                  <a:pt x="1236" y="213"/>
                </a:lnTo>
                <a:lnTo>
                  <a:pt x="1175" y="193"/>
                </a:lnTo>
                <a:lnTo>
                  <a:pt x="1114" y="173"/>
                </a:lnTo>
                <a:lnTo>
                  <a:pt x="1051" y="155"/>
                </a:lnTo>
                <a:lnTo>
                  <a:pt x="987" y="138"/>
                </a:lnTo>
                <a:lnTo>
                  <a:pt x="923" y="122"/>
                </a:lnTo>
                <a:lnTo>
                  <a:pt x="857" y="107"/>
                </a:lnTo>
                <a:lnTo>
                  <a:pt x="790" y="92"/>
                </a:lnTo>
                <a:lnTo>
                  <a:pt x="722" y="78"/>
                </a:lnTo>
                <a:lnTo>
                  <a:pt x="654" y="67"/>
                </a:lnTo>
                <a:lnTo>
                  <a:pt x="584" y="56"/>
                </a:lnTo>
                <a:lnTo>
                  <a:pt x="514" y="45"/>
                </a:lnTo>
                <a:lnTo>
                  <a:pt x="443" y="36"/>
                </a:lnTo>
                <a:lnTo>
                  <a:pt x="371" y="27"/>
                </a:lnTo>
                <a:lnTo>
                  <a:pt x="299" y="20"/>
                </a:lnTo>
                <a:lnTo>
                  <a:pt x="226" y="14"/>
                </a:lnTo>
                <a:lnTo>
                  <a:pt x="151" y="7"/>
                </a:lnTo>
                <a:lnTo>
                  <a:pt x="76" y="4"/>
                </a:lnTo>
                <a:lnTo>
                  <a:pt x="0" y="0"/>
                </a:lnTo>
                <a:lnTo>
                  <a:pt x="99" y="58"/>
                </a:lnTo>
                <a:lnTo>
                  <a:pt x="194" y="118"/>
                </a:lnTo>
                <a:lnTo>
                  <a:pt x="288" y="180"/>
                </a:lnTo>
                <a:lnTo>
                  <a:pt x="377" y="243"/>
                </a:lnTo>
                <a:lnTo>
                  <a:pt x="466" y="305"/>
                </a:lnTo>
                <a:lnTo>
                  <a:pt x="550" y="370"/>
                </a:lnTo>
                <a:lnTo>
                  <a:pt x="633" y="434"/>
                </a:lnTo>
                <a:lnTo>
                  <a:pt x="712" y="502"/>
                </a:lnTo>
                <a:lnTo>
                  <a:pt x="788" y="569"/>
                </a:lnTo>
                <a:lnTo>
                  <a:pt x="862" y="636"/>
                </a:lnTo>
                <a:lnTo>
                  <a:pt x="933" y="706"/>
                </a:lnTo>
                <a:lnTo>
                  <a:pt x="1000" y="777"/>
                </a:lnTo>
                <a:lnTo>
                  <a:pt x="1065" y="848"/>
                </a:lnTo>
                <a:lnTo>
                  <a:pt x="1096" y="884"/>
                </a:lnTo>
                <a:lnTo>
                  <a:pt x="1126" y="920"/>
                </a:lnTo>
                <a:lnTo>
                  <a:pt x="1156" y="957"/>
                </a:lnTo>
                <a:lnTo>
                  <a:pt x="1184" y="993"/>
                </a:lnTo>
                <a:lnTo>
                  <a:pt x="1213" y="1031"/>
                </a:lnTo>
                <a:lnTo>
                  <a:pt x="1240" y="1068"/>
                </a:lnTo>
                <a:lnTo>
                  <a:pt x="1266" y="1105"/>
                </a:lnTo>
                <a:lnTo>
                  <a:pt x="1293" y="1144"/>
                </a:lnTo>
                <a:lnTo>
                  <a:pt x="1317" y="1181"/>
                </a:lnTo>
                <a:lnTo>
                  <a:pt x="1341" y="1220"/>
                </a:lnTo>
                <a:lnTo>
                  <a:pt x="1365" y="1258"/>
                </a:lnTo>
                <a:lnTo>
                  <a:pt x="1387" y="1298"/>
                </a:lnTo>
                <a:lnTo>
                  <a:pt x="1408" y="1337"/>
                </a:lnTo>
                <a:lnTo>
                  <a:pt x="1429" y="1377"/>
                </a:lnTo>
                <a:lnTo>
                  <a:pt x="1449" y="1417"/>
                </a:lnTo>
                <a:lnTo>
                  <a:pt x="1468" y="1456"/>
                </a:lnTo>
                <a:lnTo>
                  <a:pt x="1487" y="1496"/>
                </a:lnTo>
                <a:lnTo>
                  <a:pt x="1504" y="1537"/>
                </a:lnTo>
                <a:lnTo>
                  <a:pt x="1522" y="1577"/>
                </a:lnTo>
                <a:lnTo>
                  <a:pt x="1538" y="1618"/>
                </a:lnTo>
                <a:lnTo>
                  <a:pt x="1553" y="1659"/>
                </a:lnTo>
                <a:lnTo>
                  <a:pt x="1566" y="1702"/>
                </a:lnTo>
                <a:lnTo>
                  <a:pt x="1580" y="1743"/>
                </a:lnTo>
                <a:lnTo>
                  <a:pt x="1593" y="1785"/>
                </a:lnTo>
                <a:lnTo>
                  <a:pt x="1604" y="1827"/>
                </a:lnTo>
                <a:lnTo>
                  <a:pt x="1615" y="1870"/>
                </a:lnTo>
                <a:lnTo>
                  <a:pt x="1625" y="1913"/>
                </a:lnTo>
                <a:lnTo>
                  <a:pt x="1634" y="1956"/>
                </a:lnTo>
                <a:lnTo>
                  <a:pt x="1642" y="1999"/>
                </a:lnTo>
                <a:lnTo>
                  <a:pt x="1650" y="2043"/>
                </a:lnTo>
                <a:lnTo>
                  <a:pt x="1656" y="2088"/>
                </a:lnTo>
                <a:lnTo>
                  <a:pt x="1661" y="2131"/>
                </a:lnTo>
                <a:lnTo>
                  <a:pt x="1666" y="2176"/>
                </a:lnTo>
                <a:lnTo>
                  <a:pt x="1670" y="2221"/>
                </a:lnTo>
                <a:lnTo>
                  <a:pt x="1672" y="2266"/>
                </a:lnTo>
                <a:lnTo>
                  <a:pt x="1675" y="2310"/>
                </a:lnTo>
                <a:lnTo>
                  <a:pt x="1675" y="2357"/>
                </a:lnTo>
                <a:lnTo>
                  <a:pt x="1676" y="2401"/>
                </a:lnTo>
                <a:lnTo>
                  <a:pt x="1017" y="1953"/>
                </a:lnTo>
                <a:lnTo>
                  <a:pt x="1106" y="2876"/>
                </a:lnTo>
                <a:lnTo>
                  <a:pt x="2445" y="3841"/>
                </a:lnTo>
                <a:lnTo>
                  <a:pt x="3580" y="2640"/>
                </a:lnTo>
                <a:close/>
              </a:path>
            </a:pathLst>
          </a:custGeom>
          <a:solidFill>
            <a:srgbClr val="C00000"/>
          </a:solidFill>
          <a:ln w="38100">
            <a:solidFill>
              <a:schemeClr val="bg1"/>
            </a:solidFill>
          </a:ln>
          <a:extLst/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endParaRPr lang="zh-TW" altLang="en-US"/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9497" y="2526745"/>
            <a:ext cx="3484397" cy="3492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250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TW" altLang="en-US" dirty="0" smtClean="0">
                <a:latin typeface="微軟正黑體" panose="020B0604030504040204" pitchFamily="34" charset="-120"/>
              </a:rPr>
              <a:t>圖形屬性視窗</a:t>
            </a:r>
            <a:endParaRPr lang="zh-TW" altLang="zh-TW" dirty="0"/>
          </a:p>
        </p:txBody>
      </p:sp>
      <p:sp>
        <p:nvSpPr>
          <p:cNvPr id="48131" name="投影片編號版面配置區 5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85000" lnSpcReduction="20000"/>
          </a:bodyPr>
          <a:lstStyle/>
          <a:p>
            <a:fld id="{B89D914F-295F-4C2E-8701-5119655D00EA}" type="slidenum">
              <a:rPr lang="zh-TW" altLang="en-US"/>
              <a:pPr/>
              <a:t>15</a:t>
            </a:fld>
            <a:endParaRPr lang="en-US" altLang="zh-TW"/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4179" y="2081443"/>
            <a:ext cx="4589112" cy="4140000"/>
          </a:xfrm>
          <a:prstGeom prst="rect">
            <a:avLst/>
          </a:prstGeom>
        </p:spPr>
      </p:pic>
      <p:pic>
        <p:nvPicPr>
          <p:cNvPr id="3" name="圖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0723" y="2081443"/>
            <a:ext cx="2743669" cy="4140000"/>
          </a:xfrm>
          <a:prstGeom prst="rect">
            <a:avLst/>
          </a:prstGeom>
          <a:ln w="12700">
            <a:solidFill>
              <a:srgbClr val="0000FF"/>
            </a:solidFill>
          </a:ln>
        </p:spPr>
      </p:pic>
      <p:pic>
        <p:nvPicPr>
          <p:cNvPr id="12" name="圖片 11"/>
          <p:cNvPicPr>
            <a:picLocks noChangeAspect="1"/>
          </p:cNvPicPr>
          <p:nvPr/>
        </p:nvPicPr>
        <p:blipFill rotWithShape="1">
          <a:blip r:embed="rId2"/>
          <a:srcRect l="37325" t="11716" r="58668" b="84184"/>
          <a:stretch/>
        </p:blipFill>
        <p:spPr>
          <a:xfrm>
            <a:off x="3712371" y="2549035"/>
            <a:ext cx="390043" cy="360040"/>
          </a:xfrm>
          <a:prstGeom prst="rect">
            <a:avLst/>
          </a:prstGeom>
          <a:ln w="38100">
            <a:solidFill>
              <a:schemeClr val="bg1"/>
            </a:solidFill>
          </a:ln>
          <a:effectLst>
            <a:outerShdw blurRad="254000" sx="102000" sy="102000" algn="ctr" rotWithShape="0">
              <a:srgbClr val="000000">
                <a:alpha val="40000"/>
              </a:srgbClr>
            </a:outerShdw>
          </a:effectLst>
        </p:spPr>
      </p:pic>
      <p:sp>
        <p:nvSpPr>
          <p:cNvPr id="14" name="向下箭號 3"/>
          <p:cNvSpPr/>
          <p:nvPr/>
        </p:nvSpPr>
        <p:spPr>
          <a:xfrm rot="1686864">
            <a:off x="3987347" y="1946125"/>
            <a:ext cx="271336" cy="587136"/>
          </a:xfrm>
          <a:custGeom>
            <a:avLst/>
            <a:gdLst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103838 w 415352"/>
              <a:gd name="connsiteY2" fmla="*/ 0 h 864096"/>
              <a:gd name="connsiteX3" fmla="*/ 311514 w 415352"/>
              <a:gd name="connsiteY3" fmla="*/ 0 h 864096"/>
              <a:gd name="connsiteX4" fmla="*/ 311514 w 415352"/>
              <a:gd name="connsiteY4" fmla="*/ 551643 h 864096"/>
              <a:gd name="connsiteX5" fmla="*/ 415352 w 415352"/>
              <a:gd name="connsiteY5" fmla="*/ 551643 h 864096"/>
              <a:gd name="connsiteX6" fmla="*/ 207676 w 415352"/>
              <a:gd name="connsiteY6" fmla="*/ 864096 h 864096"/>
              <a:gd name="connsiteX7" fmla="*/ 0 w 415352"/>
              <a:gd name="connsiteY7" fmla="*/ 551643 h 864096"/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311514 w 415352"/>
              <a:gd name="connsiteY2" fmla="*/ 0 h 864096"/>
              <a:gd name="connsiteX3" fmla="*/ 311514 w 415352"/>
              <a:gd name="connsiteY3" fmla="*/ 551643 h 864096"/>
              <a:gd name="connsiteX4" fmla="*/ 415352 w 415352"/>
              <a:gd name="connsiteY4" fmla="*/ 551643 h 864096"/>
              <a:gd name="connsiteX5" fmla="*/ 207676 w 415352"/>
              <a:gd name="connsiteY5" fmla="*/ 864096 h 864096"/>
              <a:gd name="connsiteX6" fmla="*/ 0 w 415352"/>
              <a:gd name="connsiteY6" fmla="*/ 551643 h 864096"/>
              <a:gd name="connsiteX0" fmla="*/ 0 w 415352"/>
              <a:gd name="connsiteY0" fmla="*/ 570693 h 883146"/>
              <a:gd name="connsiteX1" fmla="*/ 103838 w 415352"/>
              <a:gd name="connsiteY1" fmla="*/ 570693 h 883146"/>
              <a:gd name="connsiteX2" fmla="*/ 216264 w 415352"/>
              <a:gd name="connsiteY2" fmla="*/ 0 h 883146"/>
              <a:gd name="connsiteX3" fmla="*/ 311514 w 415352"/>
              <a:gd name="connsiteY3" fmla="*/ 570693 h 883146"/>
              <a:gd name="connsiteX4" fmla="*/ 415352 w 415352"/>
              <a:gd name="connsiteY4" fmla="*/ 570693 h 883146"/>
              <a:gd name="connsiteX5" fmla="*/ 207676 w 415352"/>
              <a:gd name="connsiteY5" fmla="*/ 883146 h 883146"/>
              <a:gd name="connsiteX6" fmla="*/ 0 w 415352"/>
              <a:gd name="connsiteY6" fmla="*/ 570693 h 88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5352" h="883146">
                <a:moveTo>
                  <a:pt x="0" y="570693"/>
                </a:moveTo>
                <a:lnTo>
                  <a:pt x="103838" y="570693"/>
                </a:lnTo>
                <a:lnTo>
                  <a:pt x="216264" y="0"/>
                </a:lnTo>
                <a:lnTo>
                  <a:pt x="311514" y="570693"/>
                </a:lnTo>
                <a:lnTo>
                  <a:pt x="415352" y="570693"/>
                </a:lnTo>
                <a:lnTo>
                  <a:pt x="207676" y="883146"/>
                </a:lnTo>
                <a:lnTo>
                  <a:pt x="0" y="570693"/>
                </a:lnTo>
                <a:close/>
              </a:path>
            </a:pathLst>
          </a:cu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7" name="KSO_Shape"/>
          <p:cNvSpPr>
            <a:spLocks noChangeAspect="1"/>
          </p:cNvSpPr>
          <p:nvPr/>
        </p:nvSpPr>
        <p:spPr bwMode="auto">
          <a:xfrm rot="18286279">
            <a:off x="6401499" y="3610184"/>
            <a:ext cx="694278" cy="745200"/>
          </a:xfrm>
          <a:custGeom>
            <a:avLst/>
            <a:gdLst>
              <a:gd name="T0" fmla="*/ 847238989 w 3580"/>
              <a:gd name="T1" fmla="*/ 847586626 h 3841"/>
              <a:gd name="T2" fmla="*/ 847238989 w 3580"/>
              <a:gd name="T3" fmla="*/ 847586626 h 3841"/>
              <a:gd name="T4" fmla="*/ 847238989 w 3580"/>
              <a:gd name="T5" fmla="*/ 847586626 h 3841"/>
              <a:gd name="T6" fmla="*/ 847238989 w 3580"/>
              <a:gd name="T7" fmla="*/ 847586626 h 3841"/>
              <a:gd name="T8" fmla="*/ 847238989 w 3580"/>
              <a:gd name="T9" fmla="*/ 847586626 h 3841"/>
              <a:gd name="T10" fmla="*/ 847238989 w 3580"/>
              <a:gd name="T11" fmla="*/ 847586626 h 3841"/>
              <a:gd name="T12" fmla="*/ 847238989 w 3580"/>
              <a:gd name="T13" fmla="*/ 847586626 h 3841"/>
              <a:gd name="T14" fmla="*/ 847238989 w 3580"/>
              <a:gd name="T15" fmla="*/ 847586626 h 3841"/>
              <a:gd name="T16" fmla="*/ 847238989 w 3580"/>
              <a:gd name="T17" fmla="*/ 847586626 h 3841"/>
              <a:gd name="T18" fmla="*/ 847238989 w 3580"/>
              <a:gd name="T19" fmla="*/ 847586626 h 3841"/>
              <a:gd name="T20" fmla="*/ 847238989 w 3580"/>
              <a:gd name="T21" fmla="*/ 847586626 h 3841"/>
              <a:gd name="T22" fmla="*/ 847238989 w 3580"/>
              <a:gd name="T23" fmla="*/ 847586626 h 3841"/>
              <a:gd name="T24" fmla="*/ 847238989 w 3580"/>
              <a:gd name="T25" fmla="*/ 847586626 h 3841"/>
              <a:gd name="T26" fmla="*/ 847238989 w 3580"/>
              <a:gd name="T27" fmla="*/ 847586626 h 3841"/>
              <a:gd name="T28" fmla="*/ 847238989 w 3580"/>
              <a:gd name="T29" fmla="*/ 847586626 h 3841"/>
              <a:gd name="T30" fmla="*/ 847238989 w 3580"/>
              <a:gd name="T31" fmla="*/ 847586626 h 3841"/>
              <a:gd name="T32" fmla="*/ 847238989 w 3580"/>
              <a:gd name="T33" fmla="*/ 847586626 h 3841"/>
              <a:gd name="T34" fmla="*/ 847238989 w 3580"/>
              <a:gd name="T35" fmla="*/ 847586626 h 3841"/>
              <a:gd name="T36" fmla="*/ 847238989 w 3580"/>
              <a:gd name="T37" fmla="*/ 847586626 h 3841"/>
              <a:gd name="T38" fmla="*/ 847238989 w 3580"/>
              <a:gd name="T39" fmla="*/ 847586626 h 3841"/>
              <a:gd name="T40" fmla="*/ 847238989 w 3580"/>
              <a:gd name="T41" fmla="*/ 847586626 h 3841"/>
              <a:gd name="T42" fmla="*/ 847238989 w 3580"/>
              <a:gd name="T43" fmla="*/ 847586626 h 3841"/>
              <a:gd name="T44" fmla="*/ 847238989 w 3580"/>
              <a:gd name="T45" fmla="*/ 847586626 h 3841"/>
              <a:gd name="T46" fmla="*/ 847238989 w 3580"/>
              <a:gd name="T47" fmla="*/ 847586626 h 3841"/>
              <a:gd name="T48" fmla="*/ 847238989 w 3580"/>
              <a:gd name="T49" fmla="*/ 847586626 h 3841"/>
              <a:gd name="T50" fmla="*/ 847238989 w 3580"/>
              <a:gd name="T51" fmla="*/ 847586626 h 3841"/>
              <a:gd name="T52" fmla="*/ 847238989 w 3580"/>
              <a:gd name="T53" fmla="*/ 847586626 h 3841"/>
              <a:gd name="T54" fmla="*/ 847238989 w 3580"/>
              <a:gd name="T55" fmla="*/ 847586626 h 3841"/>
              <a:gd name="T56" fmla="*/ 847238989 w 3580"/>
              <a:gd name="T57" fmla="*/ 847586626 h 3841"/>
              <a:gd name="T58" fmla="*/ 847238989 w 3580"/>
              <a:gd name="T59" fmla="*/ 847586626 h 3841"/>
              <a:gd name="T60" fmla="*/ 847238989 w 3580"/>
              <a:gd name="T61" fmla="*/ 847586626 h 3841"/>
              <a:gd name="T62" fmla="*/ 847238989 w 3580"/>
              <a:gd name="T63" fmla="*/ 847586626 h 3841"/>
              <a:gd name="T64" fmla="*/ 847238989 w 3580"/>
              <a:gd name="T65" fmla="*/ 847586626 h 3841"/>
              <a:gd name="T66" fmla="*/ 847238989 w 3580"/>
              <a:gd name="T67" fmla="*/ 847586626 h 3841"/>
              <a:gd name="T68" fmla="*/ 847238989 w 3580"/>
              <a:gd name="T69" fmla="*/ 847586626 h 3841"/>
              <a:gd name="T70" fmla="*/ 847238989 w 3580"/>
              <a:gd name="T71" fmla="*/ 847586626 h 3841"/>
              <a:gd name="T72" fmla="*/ 847238989 w 3580"/>
              <a:gd name="T73" fmla="*/ 847586626 h 3841"/>
              <a:gd name="T74" fmla="*/ 847238989 w 3580"/>
              <a:gd name="T75" fmla="*/ 847586626 h 3841"/>
              <a:gd name="T76" fmla="*/ 847238989 w 3580"/>
              <a:gd name="T77" fmla="*/ 847586626 h 3841"/>
              <a:gd name="T78" fmla="*/ 847238989 w 3580"/>
              <a:gd name="T79" fmla="*/ 847586626 h 3841"/>
              <a:gd name="T80" fmla="*/ 847238989 w 3580"/>
              <a:gd name="T81" fmla="*/ 847586626 h 3841"/>
              <a:gd name="T82" fmla="*/ 847238989 w 3580"/>
              <a:gd name="T83" fmla="*/ 847586626 h 3841"/>
              <a:gd name="T84" fmla="*/ 847238989 w 3580"/>
              <a:gd name="T85" fmla="*/ 847586626 h 3841"/>
              <a:gd name="T86" fmla="*/ 847238989 w 3580"/>
              <a:gd name="T87" fmla="*/ 847586626 h 3841"/>
              <a:gd name="T88" fmla="*/ 847238989 w 3580"/>
              <a:gd name="T89" fmla="*/ 847586626 h 3841"/>
              <a:gd name="T90" fmla="*/ 847238989 w 3580"/>
              <a:gd name="T91" fmla="*/ 847586626 h 3841"/>
              <a:gd name="T92" fmla="*/ 847238989 w 3580"/>
              <a:gd name="T93" fmla="*/ 847586626 h 3841"/>
              <a:gd name="T94" fmla="*/ 847238989 w 3580"/>
              <a:gd name="T95" fmla="*/ 847586626 h 3841"/>
              <a:gd name="T96" fmla="*/ 847238989 w 3580"/>
              <a:gd name="T97" fmla="*/ 847586626 h 3841"/>
              <a:gd name="T98" fmla="*/ 847238989 w 3580"/>
              <a:gd name="T99" fmla="*/ 847586626 h 3841"/>
              <a:gd name="T100" fmla="*/ 847238989 w 3580"/>
              <a:gd name="T101" fmla="*/ 847586626 h 3841"/>
              <a:gd name="T102" fmla="*/ 847238989 w 3580"/>
              <a:gd name="T103" fmla="*/ 847586626 h 3841"/>
              <a:gd name="T104" fmla="*/ 847238989 w 3580"/>
              <a:gd name="T105" fmla="*/ 847586626 h 3841"/>
              <a:gd name="T106" fmla="*/ 847238989 w 3580"/>
              <a:gd name="T107" fmla="*/ 847586626 h 3841"/>
              <a:gd name="T108" fmla="*/ 847238989 w 3580"/>
              <a:gd name="T109" fmla="*/ 847586626 h 3841"/>
              <a:gd name="T110" fmla="*/ 847238989 w 3580"/>
              <a:gd name="T111" fmla="*/ 847586626 h 3841"/>
              <a:gd name="T112" fmla="*/ 847238989 w 3580"/>
              <a:gd name="T113" fmla="*/ 847586626 h 3841"/>
              <a:gd name="T114" fmla="*/ 847238989 w 3580"/>
              <a:gd name="T115" fmla="*/ 847586626 h 3841"/>
              <a:gd name="T116" fmla="*/ 847238989 w 3580"/>
              <a:gd name="T117" fmla="*/ 847586626 h 3841"/>
              <a:gd name="T118" fmla="*/ 847238989 w 3580"/>
              <a:gd name="T119" fmla="*/ 847586626 h 3841"/>
              <a:gd name="T120" fmla="*/ 847238989 w 3580"/>
              <a:gd name="T121" fmla="*/ 847586626 h 3841"/>
              <a:gd name="T122" fmla="*/ 847238989 w 3580"/>
              <a:gd name="T123" fmla="*/ 847586626 h 3841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580" h="3841">
                <a:moveTo>
                  <a:pt x="3580" y="2640"/>
                </a:moveTo>
                <a:lnTo>
                  <a:pt x="3491" y="1718"/>
                </a:lnTo>
                <a:lnTo>
                  <a:pt x="2890" y="2323"/>
                </a:lnTo>
                <a:lnTo>
                  <a:pt x="2881" y="2251"/>
                </a:lnTo>
                <a:lnTo>
                  <a:pt x="2871" y="2180"/>
                </a:lnTo>
                <a:lnTo>
                  <a:pt x="2859" y="2110"/>
                </a:lnTo>
                <a:lnTo>
                  <a:pt x="2846" y="2042"/>
                </a:lnTo>
                <a:lnTo>
                  <a:pt x="2831" y="1974"/>
                </a:lnTo>
                <a:lnTo>
                  <a:pt x="2816" y="1908"/>
                </a:lnTo>
                <a:lnTo>
                  <a:pt x="2799" y="1844"/>
                </a:lnTo>
                <a:lnTo>
                  <a:pt x="2782" y="1780"/>
                </a:lnTo>
                <a:lnTo>
                  <a:pt x="2762" y="1718"/>
                </a:lnTo>
                <a:lnTo>
                  <a:pt x="2742" y="1657"/>
                </a:lnTo>
                <a:lnTo>
                  <a:pt x="2719" y="1597"/>
                </a:lnTo>
                <a:lnTo>
                  <a:pt x="2697" y="1539"/>
                </a:lnTo>
                <a:lnTo>
                  <a:pt x="2672" y="1480"/>
                </a:lnTo>
                <a:lnTo>
                  <a:pt x="2647" y="1424"/>
                </a:lnTo>
                <a:lnTo>
                  <a:pt x="2620" y="1369"/>
                </a:lnTo>
                <a:lnTo>
                  <a:pt x="2592" y="1314"/>
                </a:lnTo>
                <a:lnTo>
                  <a:pt x="2564" y="1262"/>
                </a:lnTo>
                <a:lnTo>
                  <a:pt x="2533" y="1210"/>
                </a:lnTo>
                <a:lnTo>
                  <a:pt x="2501" y="1160"/>
                </a:lnTo>
                <a:lnTo>
                  <a:pt x="2469" y="1110"/>
                </a:lnTo>
                <a:lnTo>
                  <a:pt x="2435" y="1062"/>
                </a:lnTo>
                <a:lnTo>
                  <a:pt x="2401" y="1014"/>
                </a:lnTo>
                <a:lnTo>
                  <a:pt x="2365" y="968"/>
                </a:lnTo>
                <a:lnTo>
                  <a:pt x="2327" y="924"/>
                </a:lnTo>
                <a:lnTo>
                  <a:pt x="2289" y="880"/>
                </a:lnTo>
                <a:lnTo>
                  <a:pt x="2249" y="838"/>
                </a:lnTo>
                <a:lnTo>
                  <a:pt x="2209" y="797"/>
                </a:lnTo>
                <a:lnTo>
                  <a:pt x="2167" y="756"/>
                </a:lnTo>
                <a:lnTo>
                  <a:pt x="2124" y="717"/>
                </a:lnTo>
                <a:lnTo>
                  <a:pt x="2081" y="678"/>
                </a:lnTo>
                <a:lnTo>
                  <a:pt x="2036" y="641"/>
                </a:lnTo>
                <a:lnTo>
                  <a:pt x="1990" y="605"/>
                </a:lnTo>
                <a:lnTo>
                  <a:pt x="1942" y="570"/>
                </a:lnTo>
                <a:lnTo>
                  <a:pt x="1894" y="536"/>
                </a:lnTo>
                <a:lnTo>
                  <a:pt x="1845" y="504"/>
                </a:lnTo>
                <a:lnTo>
                  <a:pt x="1794" y="472"/>
                </a:lnTo>
                <a:lnTo>
                  <a:pt x="1743" y="442"/>
                </a:lnTo>
                <a:lnTo>
                  <a:pt x="1691" y="412"/>
                </a:lnTo>
                <a:lnTo>
                  <a:pt x="1637" y="383"/>
                </a:lnTo>
                <a:lnTo>
                  <a:pt x="1584" y="356"/>
                </a:lnTo>
                <a:lnTo>
                  <a:pt x="1528" y="330"/>
                </a:lnTo>
                <a:lnTo>
                  <a:pt x="1472" y="304"/>
                </a:lnTo>
                <a:lnTo>
                  <a:pt x="1415" y="280"/>
                </a:lnTo>
                <a:lnTo>
                  <a:pt x="1356" y="256"/>
                </a:lnTo>
                <a:lnTo>
                  <a:pt x="1298" y="234"/>
                </a:lnTo>
                <a:lnTo>
                  <a:pt x="1236" y="213"/>
                </a:lnTo>
                <a:lnTo>
                  <a:pt x="1175" y="193"/>
                </a:lnTo>
                <a:lnTo>
                  <a:pt x="1114" y="173"/>
                </a:lnTo>
                <a:lnTo>
                  <a:pt x="1051" y="155"/>
                </a:lnTo>
                <a:lnTo>
                  <a:pt x="987" y="138"/>
                </a:lnTo>
                <a:lnTo>
                  <a:pt x="923" y="122"/>
                </a:lnTo>
                <a:lnTo>
                  <a:pt x="857" y="107"/>
                </a:lnTo>
                <a:lnTo>
                  <a:pt x="790" y="92"/>
                </a:lnTo>
                <a:lnTo>
                  <a:pt x="722" y="78"/>
                </a:lnTo>
                <a:lnTo>
                  <a:pt x="654" y="67"/>
                </a:lnTo>
                <a:lnTo>
                  <a:pt x="584" y="56"/>
                </a:lnTo>
                <a:lnTo>
                  <a:pt x="514" y="45"/>
                </a:lnTo>
                <a:lnTo>
                  <a:pt x="443" y="36"/>
                </a:lnTo>
                <a:lnTo>
                  <a:pt x="371" y="27"/>
                </a:lnTo>
                <a:lnTo>
                  <a:pt x="299" y="20"/>
                </a:lnTo>
                <a:lnTo>
                  <a:pt x="226" y="14"/>
                </a:lnTo>
                <a:lnTo>
                  <a:pt x="151" y="7"/>
                </a:lnTo>
                <a:lnTo>
                  <a:pt x="76" y="4"/>
                </a:lnTo>
                <a:lnTo>
                  <a:pt x="0" y="0"/>
                </a:lnTo>
                <a:lnTo>
                  <a:pt x="99" y="58"/>
                </a:lnTo>
                <a:lnTo>
                  <a:pt x="194" y="118"/>
                </a:lnTo>
                <a:lnTo>
                  <a:pt x="288" y="180"/>
                </a:lnTo>
                <a:lnTo>
                  <a:pt x="377" y="243"/>
                </a:lnTo>
                <a:lnTo>
                  <a:pt x="466" y="305"/>
                </a:lnTo>
                <a:lnTo>
                  <a:pt x="550" y="370"/>
                </a:lnTo>
                <a:lnTo>
                  <a:pt x="633" y="434"/>
                </a:lnTo>
                <a:lnTo>
                  <a:pt x="712" y="502"/>
                </a:lnTo>
                <a:lnTo>
                  <a:pt x="788" y="569"/>
                </a:lnTo>
                <a:lnTo>
                  <a:pt x="862" y="636"/>
                </a:lnTo>
                <a:lnTo>
                  <a:pt x="933" y="706"/>
                </a:lnTo>
                <a:lnTo>
                  <a:pt x="1000" y="777"/>
                </a:lnTo>
                <a:lnTo>
                  <a:pt x="1065" y="848"/>
                </a:lnTo>
                <a:lnTo>
                  <a:pt x="1096" y="884"/>
                </a:lnTo>
                <a:lnTo>
                  <a:pt x="1126" y="920"/>
                </a:lnTo>
                <a:lnTo>
                  <a:pt x="1156" y="957"/>
                </a:lnTo>
                <a:lnTo>
                  <a:pt x="1184" y="993"/>
                </a:lnTo>
                <a:lnTo>
                  <a:pt x="1213" y="1031"/>
                </a:lnTo>
                <a:lnTo>
                  <a:pt x="1240" y="1068"/>
                </a:lnTo>
                <a:lnTo>
                  <a:pt x="1266" y="1105"/>
                </a:lnTo>
                <a:lnTo>
                  <a:pt x="1293" y="1144"/>
                </a:lnTo>
                <a:lnTo>
                  <a:pt x="1317" y="1181"/>
                </a:lnTo>
                <a:lnTo>
                  <a:pt x="1341" y="1220"/>
                </a:lnTo>
                <a:lnTo>
                  <a:pt x="1365" y="1258"/>
                </a:lnTo>
                <a:lnTo>
                  <a:pt x="1387" y="1298"/>
                </a:lnTo>
                <a:lnTo>
                  <a:pt x="1408" y="1337"/>
                </a:lnTo>
                <a:lnTo>
                  <a:pt x="1429" y="1377"/>
                </a:lnTo>
                <a:lnTo>
                  <a:pt x="1449" y="1417"/>
                </a:lnTo>
                <a:lnTo>
                  <a:pt x="1468" y="1456"/>
                </a:lnTo>
                <a:lnTo>
                  <a:pt x="1487" y="1496"/>
                </a:lnTo>
                <a:lnTo>
                  <a:pt x="1504" y="1537"/>
                </a:lnTo>
                <a:lnTo>
                  <a:pt x="1522" y="1577"/>
                </a:lnTo>
                <a:lnTo>
                  <a:pt x="1538" y="1618"/>
                </a:lnTo>
                <a:lnTo>
                  <a:pt x="1553" y="1659"/>
                </a:lnTo>
                <a:lnTo>
                  <a:pt x="1566" y="1702"/>
                </a:lnTo>
                <a:lnTo>
                  <a:pt x="1580" y="1743"/>
                </a:lnTo>
                <a:lnTo>
                  <a:pt x="1593" y="1785"/>
                </a:lnTo>
                <a:lnTo>
                  <a:pt x="1604" y="1827"/>
                </a:lnTo>
                <a:lnTo>
                  <a:pt x="1615" y="1870"/>
                </a:lnTo>
                <a:lnTo>
                  <a:pt x="1625" y="1913"/>
                </a:lnTo>
                <a:lnTo>
                  <a:pt x="1634" y="1956"/>
                </a:lnTo>
                <a:lnTo>
                  <a:pt x="1642" y="1999"/>
                </a:lnTo>
                <a:lnTo>
                  <a:pt x="1650" y="2043"/>
                </a:lnTo>
                <a:lnTo>
                  <a:pt x="1656" y="2088"/>
                </a:lnTo>
                <a:lnTo>
                  <a:pt x="1661" y="2131"/>
                </a:lnTo>
                <a:lnTo>
                  <a:pt x="1666" y="2176"/>
                </a:lnTo>
                <a:lnTo>
                  <a:pt x="1670" y="2221"/>
                </a:lnTo>
                <a:lnTo>
                  <a:pt x="1672" y="2266"/>
                </a:lnTo>
                <a:lnTo>
                  <a:pt x="1675" y="2310"/>
                </a:lnTo>
                <a:lnTo>
                  <a:pt x="1675" y="2357"/>
                </a:lnTo>
                <a:lnTo>
                  <a:pt x="1676" y="2401"/>
                </a:lnTo>
                <a:lnTo>
                  <a:pt x="1017" y="1953"/>
                </a:lnTo>
                <a:lnTo>
                  <a:pt x="1106" y="2876"/>
                </a:lnTo>
                <a:lnTo>
                  <a:pt x="2445" y="3841"/>
                </a:lnTo>
                <a:lnTo>
                  <a:pt x="3580" y="2640"/>
                </a:lnTo>
                <a:close/>
              </a:path>
            </a:pathLst>
          </a:custGeom>
          <a:solidFill>
            <a:srgbClr val="C00000"/>
          </a:solidFill>
          <a:ln w="38100">
            <a:solidFill>
              <a:schemeClr val="bg1"/>
            </a:solidFill>
          </a:ln>
          <a:extLst/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8" name="Text Box 7"/>
          <p:cNvSpPr txBox="1">
            <a:spLocks noChangeArrowheads="1"/>
          </p:cNvSpPr>
          <p:nvPr/>
        </p:nvSpPr>
        <p:spPr bwMode="auto">
          <a:xfrm>
            <a:off x="8090104" y="1632224"/>
            <a:ext cx="1309575" cy="400110"/>
          </a:xfrm>
          <a:prstGeom prst="rect">
            <a:avLst/>
          </a:prstGeom>
          <a:solidFill>
            <a:schemeClr val="bg1">
              <a:alpha val="85000"/>
            </a:schemeClr>
          </a:solidFill>
          <a:ln w="12700" cap="sq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ctr"/>
            <a:r>
              <a:rPr lang="zh-TW" altLang="en-US" sz="2000" b="1" u="sng" dirty="0" smtClean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屬性編輯</a:t>
            </a:r>
            <a:endParaRPr lang="en-US" altLang="zh-TW" sz="2000" b="1" u="sng" dirty="0">
              <a:solidFill>
                <a:srgbClr val="0E457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9" name="向下箭號 3"/>
          <p:cNvSpPr/>
          <p:nvPr/>
        </p:nvSpPr>
        <p:spPr>
          <a:xfrm rot="1686864">
            <a:off x="8351224" y="1928858"/>
            <a:ext cx="271336" cy="587136"/>
          </a:xfrm>
          <a:custGeom>
            <a:avLst/>
            <a:gdLst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103838 w 415352"/>
              <a:gd name="connsiteY2" fmla="*/ 0 h 864096"/>
              <a:gd name="connsiteX3" fmla="*/ 311514 w 415352"/>
              <a:gd name="connsiteY3" fmla="*/ 0 h 864096"/>
              <a:gd name="connsiteX4" fmla="*/ 311514 w 415352"/>
              <a:gd name="connsiteY4" fmla="*/ 551643 h 864096"/>
              <a:gd name="connsiteX5" fmla="*/ 415352 w 415352"/>
              <a:gd name="connsiteY5" fmla="*/ 551643 h 864096"/>
              <a:gd name="connsiteX6" fmla="*/ 207676 w 415352"/>
              <a:gd name="connsiteY6" fmla="*/ 864096 h 864096"/>
              <a:gd name="connsiteX7" fmla="*/ 0 w 415352"/>
              <a:gd name="connsiteY7" fmla="*/ 551643 h 864096"/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311514 w 415352"/>
              <a:gd name="connsiteY2" fmla="*/ 0 h 864096"/>
              <a:gd name="connsiteX3" fmla="*/ 311514 w 415352"/>
              <a:gd name="connsiteY3" fmla="*/ 551643 h 864096"/>
              <a:gd name="connsiteX4" fmla="*/ 415352 w 415352"/>
              <a:gd name="connsiteY4" fmla="*/ 551643 h 864096"/>
              <a:gd name="connsiteX5" fmla="*/ 207676 w 415352"/>
              <a:gd name="connsiteY5" fmla="*/ 864096 h 864096"/>
              <a:gd name="connsiteX6" fmla="*/ 0 w 415352"/>
              <a:gd name="connsiteY6" fmla="*/ 551643 h 864096"/>
              <a:gd name="connsiteX0" fmla="*/ 0 w 415352"/>
              <a:gd name="connsiteY0" fmla="*/ 570693 h 883146"/>
              <a:gd name="connsiteX1" fmla="*/ 103838 w 415352"/>
              <a:gd name="connsiteY1" fmla="*/ 570693 h 883146"/>
              <a:gd name="connsiteX2" fmla="*/ 216264 w 415352"/>
              <a:gd name="connsiteY2" fmla="*/ 0 h 883146"/>
              <a:gd name="connsiteX3" fmla="*/ 311514 w 415352"/>
              <a:gd name="connsiteY3" fmla="*/ 570693 h 883146"/>
              <a:gd name="connsiteX4" fmla="*/ 415352 w 415352"/>
              <a:gd name="connsiteY4" fmla="*/ 570693 h 883146"/>
              <a:gd name="connsiteX5" fmla="*/ 207676 w 415352"/>
              <a:gd name="connsiteY5" fmla="*/ 883146 h 883146"/>
              <a:gd name="connsiteX6" fmla="*/ 0 w 415352"/>
              <a:gd name="connsiteY6" fmla="*/ 570693 h 88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5352" h="883146">
                <a:moveTo>
                  <a:pt x="0" y="570693"/>
                </a:moveTo>
                <a:lnTo>
                  <a:pt x="103838" y="570693"/>
                </a:lnTo>
                <a:lnTo>
                  <a:pt x="216264" y="0"/>
                </a:lnTo>
                <a:lnTo>
                  <a:pt x="311514" y="570693"/>
                </a:lnTo>
                <a:lnTo>
                  <a:pt x="415352" y="570693"/>
                </a:lnTo>
                <a:lnTo>
                  <a:pt x="207676" y="883146"/>
                </a:lnTo>
                <a:lnTo>
                  <a:pt x="0" y="570693"/>
                </a:lnTo>
                <a:close/>
              </a:path>
            </a:pathLst>
          </a:cu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97671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圖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28963" y="2132856"/>
            <a:ext cx="4589112" cy="4140000"/>
          </a:xfrm>
          <a:prstGeom prst="rect">
            <a:avLst/>
          </a:prstGeom>
        </p:spPr>
      </p:pic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TW" altLang="en-US" dirty="0">
                <a:latin typeface="微軟正黑體" panose="020B0604030504040204" pitchFamily="34" charset="-120"/>
              </a:rPr>
              <a:t>圖檔的</a:t>
            </a:r>
            <a:r>
              <a:rPr lang="zh-TW" altLang="en-US" dirty="0" smtClean="0">
                <a:latin typeface="微軟正黑體" panose="020B0604030504040204" pitchFamily="34" charset="-120"/>
              </a:rPr>
              <a:t>儲存</a:t>
            </a:r>
            <a:endParaRPr lang="zh-TW" altLang="zh-TW" dirty="0"/>
          </a:p>
        </p:txBody>
      </p:sp>
      <p:sp>
        <p:nvSpPr>
          <p:cNvPr id="48131" name="投影片編號版面配置區 5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85000" lnSpcReduction="20000"/>
          </a:bodyPr>
          <a:lstStyle/>
          <a:p>
            <a:fld id="{B89D914F-295F-4C2E-8701-5119655D00EA}" type="slidenum">
              <a:rPr lang="zh-TW" altLang="en-US"/>
              <a:pPr/>
              <a:t>16</a:t>
            </a:fld>
            <a:endParaRPr lang="en-US" altLang="zh-TW"/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 rotWithShape="1">
          <a:blip r:embed="rId3"/>
          <a:srcRect l="35044" t="28555" r="54735" b="40886"/>
          <a:stretch/>
        </p:blipFill>
        <p:spPr>
          <a:xfrm>
            <a:off x="3647728" y="2132856"/>
            <a:ext cx="1778742" cy="2991520"/>
          </a:xfrm>
          <a:prstGeom prst="rect">
            <a:avLst/>
          </a:prstGeom>
          <a:ln w="38100">
            <a:solidFill>
              <a:schemeClr val="bg1"/>
            </a:solidFill>
          </a:ln>
          <a:effectLst>
            <a:outerShdw blurRad="254000" sx="102000" sy="102000" algn="ctr" rotWithShape="0">
              <a:srgbClr val="000000">
                <a:alpha val="40000"/>
              </a:srgbClr>
            </a:outerShdw>
          </a:effectLst>
        </p:spPr>
      </p:pic>
      <p:sp>
        <p:nvSpPr>
          <p:cNvPr id="14" name="向下箭號 3"/>
          <p:cNvSpPr/>
          <p:nvPr/>
        </p:nvSpPr>
        <p:spPr>
          <a:xfrm rot="1686864">
            <a:off x="4401430" y="2738212"/>
            <a:ext cx="271336" cy="587136"/>
          </a:xfrm>
          <a:custGeom>
            <a:avLst/>
            <a:gdLst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103838 w 415352"/>
              <a:gd name="connsiteY2" fmla="*/ 0 h 864096"/>
              <a:gd name="connsiteX3" fmla="*/ 311514 w 415352"/>
              <a:gd name="connsiteY3" fmla="*/ 0 h 864096"/>
              <a:gd name="connsiteX4" fmla="*/ 311514 w 415352"/>
              <a:gd name="connsiteY4" fmla="*/ 551643 h 864096"/>
              <a:gd name="connsiteX5" fmla="*/ 415352 w 415352"/>
              <a:gd name="connsiteY5" fmla="*/ 551643 h 864096"/>
              <a:gd name="connsiteX6" fmla="*/ 207676 w 415352"/>
              <a:gd name="connsiteY6" fmla="*/ 864096 h 864096"/>
              <a:gd name="connsiteX7" fmla="*/ 0 w 415352"/>
              <a:gd name="connsiteY7" fmla="*/ 551643 h 864096"/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311514 w 415352"/>
              <a:gd name="connsiteY2" fmla="*/ 0 h 864096"/>
              <a:gd name="connsiteX3" fmla="*/ 311514 w 415352"/>
              <a:gd name="connsiteY3" fmla="*/ 551643 h 864096"/>
              <a:gd name="connsiteX4" fmla="*/ 415352 w 415352"/>
              <a:gd name="connsiteY4" fmla="*/ 551643 h 864096"/>
              <a:gd name="connsiteX5" fmla="*/ 207676 w 415352"/>
              <a:gd name="connsiteY5" fmla="*/ 864096 h 864096"/>
              <a:gd name="connsiteX6" fmla="*/ 0 w 415352"/>
              <a:gd name="connsiteY6" fmla="*/ 551643 h 864096"/>
              <a:gd name="connsiteX0" fmla="*/ 0 w 415352"/>
              <a:gd name="connsiteY0" fmla="*/ 570693 h 883146"/>
              <a:gd name="connsiteX1" fmla="*/ 103838 w 415352"/>
              <a:gd name="connsiteY1" fmla="*/ 570693 h 883146"/>
              <a:gd name="connsiteX2" fmla="*/ 216264 w 415352"/>
              <a:gd name="connsiteY2" fmla="*/ 0 h 883146"/>
              <a:gd name="connsiteX3" fmla="*/ 311514 w 415352"/>
              <a:gd name="connsiteY3" fmla="*/ 570693 h 883146"/>
              <a:gd name="connsiteX4" fmla="*/ 415352 w 415352"/>
              <a:gd name="connsiteY4" fmla="*/ 570693 h 883146"/>
              <a:gd name="connsiteX5" fmla="*/ 207676 w 415352"/>
              <a:gd name="connsiteY5" fmla="*/ 883146 h 883146"/>
              <a:gd name="connsiteX6" fmla="*/ 0 w 415352"/>
              <a:gd name="connsiteY6" fmla="*/ 570693 h 88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5352" h="883146">
                <a:moveTo>
                  <a:pt x="0" y="570693"/>
                </a:moveTo>
                <a:lnTo>
                  <a:pt x="103838" y="570693"/>
                </a:lnTo>
                <a:lnTo>
                  <a:pt x="216264" y="0"/>
                </a:lnTo>
                <a:lnTo>
                  <a:pt x="311514" y="570693"/>
                </a:lnTo>
                <a:lnTo>
                  <a:pt x="415352" y="570693"/>
                </a:lnTo>
                <a:lnTo>
                  <a:pt x="207676" y="883146"/>
                </a:lnTo>
                <a:lnTo>
                  <a:pt x="0" y="570693"/>
                </a:lnTo>
                <a:close/>
              </a:path>
            </a:pathLst>
          </a:cu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438929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TW" altLang="en-US" dirty="0">
                <a:latin typeface="微軟正黑體" panose="020B0604030504040204" pitchFamily="34" charset="-120"/>
              </a:rPr>
              <a:t>其他二維</a:t>
            </a:r>
            <a:r>
              <a:rPr lang="zh-TW" altLang="en-US" dirty="0" smtClean="0">
                <a:latin typeface="微軟正黑體" panose="020B0604030504040204" pitchFamily="34" charset="-120"/>
              </a:rPr>
              <a:t>圖形 </a:t>
            </a:r>
            <a:r>
              <a:rPr lang="en-US" altLang="zh-TW" dirty="0" smtClean="0">
                <a:latin typeface="+mn-lt"/>
              </a:rPr>
              <a:t>(1/4)</a:t>
            </a:r>
            <a:endParaRPr lang="zh-TW" altLang="zh-TW" dirty="0">
              <a:latin typeface="+mn-lt"/>
            </a:endParaRPr>
          </a:p>
        </p:txBody>
      </p:sp>
      <p:sp>
        <p:nvSpPr>
          <p:cNvPr id="48131" name="投影片編號版面配置區 5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85000" lnSpcReduction="20000"/>
          </a:bodyPr>
          <a:lstStyle/>
          <a:p>
            <a:fld id="{B89D914F-295F-4C2E-8701-5119655D00EA}" type="slidenum">
              <a:rPr lang="zh-TW" altLang="en-US"/>
              <a:pPr/>
              <a:t>17</a:t>
            </a:fld>
            <a:endParaRPr lang="en-US" altLang="zh-TW"/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1659052" y="1839718"/>
            <a:ext cx="9549516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/>
            <a:r>
              <a:rPr lang="zh-TW" altLang="en-US" sz="2000" dirty="0" smtClean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階梯圖</a:t>
            </a:r>
            <a:r>
              <a:rPr lang="en-US" altLang="zh-TW" sz="2000" b="1" dirty="0" smtClean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(stairs)</a:t>
            </a:r>
            <a:r>
              <a:rPr lang="zh-TW" altLang="en-US" sz="2000" dirty="0" smtClean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：主要在描述資料之變化，常隨時間而變動。</a:t>
            </a:r>
            <a:endParaRPr lang="zh-TW" altLang="en-US" sz="2000" dirty="0">
              <a:solidFill>
                <a:schemeClr val="tx1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10" name="Oval 77"/>
          <p:cNvSpPr>
            <a:spLocks noChangeArrowheads="1"/>
          </p:cNvSpPr>
          <p:nvPr/>
        </p:nvSpPr>
        <p:spPr bwMode="auto">
          <a:xfrm>
            <a:off x="983432" y="184482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/>
            <a:r>
              <a:rPr lang="en-US" altLang="zh-TW" sz="2000" dirty="0" smtClean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1</a:t>
            </a:r>
            <a:endParaRPr lang="en-US" sz="2000" dirty="0">
              <a:solidFill>
                <a:srgbClr val="0E457D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pic>
        <p:nvPicPr>
          <p:cNvPr id="3" name="圖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0800" y="2422800"/>
            <a:ext cx="4589112" cy="4140000"/>
          </a:xfrm>
          <a:prstGeom prst="rect">
            <a:avLst/>
          </a:prstGeom>
        </p:spPr>
      </p:pic>
      <p:sp>
        <p:nvSpPr>
          <p:cNvPr id="17" name="KSO_Shape"/>
          <p:cNvSpPr>
            <a:spLocks noChangeAspect="1"/>
          </p:cNvSpPr>
          <p:nvPr/>
        </p:nvSpPr>
        <p:spPr bwMode="auto">
          <a:xfrm rot="18286279">
            <a:off x="5084858" y="3862833"/>
            <a:ext cx="694278" cy="745200"/>
          </a:xfrm>
          <a:custGeom>
            <a:avLst/>
            <a:gdLst>
              <a:gd name="T0" fmla="*/ 847238989 w 3580"/>
              <a:gd name="T1" fmla="*/ 847586626 h 3841"/>
              <a:gd name="T2" fmla="*/ 847238989 w 3580"/>
              <a:gd name="T3" fmla="*/ 847586626 h 3841"/>
              <a:gd name="T4" fmla="*/ 847238989 w 3580"/>
              <a:gd name="T5" fmla="*/ 847586626 h 3841"/>
              <a:gd name="T6" fmla="*/ 847238989 w 3580"/>
              <a:gd name="T7" fmla="*/ 847586626 h 3841"/>
              <a:gd name="T8" fmla="*/ 847238989 w 3580"/>
              <a:gd name="T9" fmla="*/ 847586626 h 3841"/>
              <a:gd name="T10" fmla="*/ 847238989 w 3580"/>
              <a:gd name="T11" fmla="*/ 847586626 h 3841"/>
              <a:gd name="T12" fmla="*/ 847238989 w 3580"/>
              <a:gd name="T13" fmla="*/ 847586626 h 3841"/>
              <a:gd name="T14" fmla="*/ 847238989 w 3580"/>
              <a:gd name="T15" fmla="*/ 847586626 h 3841"/>
              <a:gd name="T16" fmla="*/ 847238989 w 3580"/>
              <a:gd name="T17" fmla="*/ 847586626 h 3841"/>
              <a:gd name="T18" fmla="*/ 847238989 w 3580"/>
              <a:gd name="T19" fmla="*/ 847586626 h 3841"/>
              <a:gd name="T20" fmla="*/ 847238989 w 3580"/>
              <a:gd name="T21" fmla="*/ 847586626 h 3841"/>
              <a:gd name="T22" fmla="*/ 847238989 w 3580"/>
              <a:gd name="T23" fmla="*/ 847586626 h 3841"/>
              <a:gd name="T24" fmla="*/ 847238989 w 3580"/>
              <a:gd name="T25" fmla="*/ 847586626 h 3841"/>
              <a:gd name="T26" fmla="*/ 847238989 w 3580"/>
              <a:gd name="T27" fmla="*/ 847586626 h 3841"/>
              <a:gd name="T28" fmla="*/ 847238989 w 3580"/>
              <a:gd name="T29" fmla="*/ 847586626 h 3841"/>
              <a:gd name="T30" fmla="*/ 847238989 w 3580"/>
              <a:gd name="T31" fmla="*/ 847586626 h 3841"/>
              <a:gd name="T32" fmla="*/ 847238989 w 3580"/>
              <a:gd name="T33" fmla="*/ 847586626 h 3841"/>
              <a:gd name="T34" fmla="*/ 847238989 w 3580"/>
              <a:gd name="T35" fmla="*/ 847586626 h 3841"/>
              <a:gd name="T36" fmla="*/ 847238989 w 3580"/>
              <a:gd name="T37" fmla="*/ 847586626 h 3841"/>
              <a:gd name="T38" fmla="*/ 847238989 w 3580"/>
              <a:gd name="T39" fmla="*/ 847586626 h 3841"/>
              <a:gd name="T40" fmla="*/ 847238989 w 3580"/>
              <a:gd name="T41" fmla="*/ 847586626 h 3841"/>
              <a:gd name="T42" fmla="*/ 847238989 w 3580"/>
              <a:gd name="T43" fmla="*/ 847586626 h 3841"/>
              <a:gd name="T44" fmla="*/ 847238989 w 3580"/>
              <a:gd name="T45" fmla="*/ 847586626 h 3841"/>
              <a:gd name="T46" fmla="*/ 847238989 w 3580"/>
              <a:gd name="T47" fmla="*/ 847586626 h 3841"/>
              <a:gd name="T48" fmla="*/ 847238989 w 3580"/>
              <a:gd name="T49" fmla="*/ 847586626 h 3841"/>
              <a:gd name="T50" fmla="*/ 847238989 w 3580"/>
              <a:gd name="T51" fmla="*/ 847586626 h 3841"/>
              <a:gd name="T52" fmla="*/ 847238989 w 3580"/>
              <a:gd name="T53" fmla="*/ 847586626 h 3841"/>
              <a:gd name="T54" fmla="*/ 847238989 w 3580"/>
              <a:gd name="T55" fmla="*/ 847586626 h 3841"/>
              <a:gd name="T56" fmla="*/ 847238989 w 3580"/>
              <a:gd name="T57" fmla="*/ 847586626 h 3841"/>
              <a:gd name="T58" fmla="*/ 847238989 w 3580"/>
              <a:gd name="T59" fmla="*/ 847586626 h 3841"/>
              <a:gd name="T60" fmla="*/ 847238989 w 3580"/>
              <a:gd name="T61" fmla="*/ 847586626 h 3841"/>
              <a:gd name="T62" fmla="*/ 847238989 w 3580"/>
              <a:gd name="T63" fmla="*/ 847586626 h 3841"/>
              <a:gd name="T64" fmla="*/ 847238989 w 3580"/>
              <a:gd name="T65" fmla="*/ 847586626 h 3841"/>
              <a:gd name="T66" fmla="*/ 847238989 w 3580"/>
              <a:gd name="T67" fmla="*/ 847586626 h 3841"/>
              <a:gd name="T68" fmla="*/ 847238989 w 3580"/>
              <a:gd name="T69" fmla="*/ 847586626 h 3841"/>
              <a:gd name="T70" fmla="*/ 847238989 w 3580"/>
              <a:gd name="T71" fmla="*/ 847586626 h 3841"/>
              <a:gd name="T72" fmla="*/ 847238989 w 3580"/>
              <a:gd name="T73" fmla="*/ 847586626 h 3841"/>
              <a:gd name="T74" fmla="*/ 847238989 w 3580"/>
              <a:gd name="T75" fmla="*/ 847586626 h 3841"/>
              <a:gd name="T76" fmla="*/ 847238989 w 3580"/>
              <a:gd name="T77" fmla="*/ 847586626 h 3841"/>
              <a:gd name="T78" fmla="*/ 847238989 w 3580"/>
              <a:gd name="T79" fmla="*/ 847586626 h 3841"/>
              <a:gd name="T80" fmla="*/ 847238989 w 3580"/>
              <a:gd name="T81" fmla="*/ 847586626 h 3841"/>
              <a:gd name="T82" fmla="*/ 847238989 w 3580"/>
              <a:gd name="T83" fmla="*/ 847586626 h 3841"/>
              <a:gd name="T84" fmla="*/ 847238989 w 3580"/>
              <a:gd name="T85" fmla="*/ 847586626 h 3841"/>
              <a:gd name="T86" fmla="*/ 847238989 w 3580"/>
              <a:gd name="T87" fmla="*/ 847586626 h 3841"/>
              <a:gd name="T88" fmla="*/ 847238989 w 3580"/>
              <a:gd name="T89" fmla="*/ 847586626 h 3841"/>
              <a:gd name="T90" fmla="*/ 847238989 w 3580"/>
              <a:gd name="T91" fmla="*/ 847586626 h 3841"/>
              <a:gd name="T92" fmla="*/ 847238989 w 3580"/>
              <a:gd name="T93" fmla="*/ 847586626 h 3841"/>
              <a:gd name="T94" fmla="*/ 847238989 w 3580"/>
              <a:gd name="T95" fmla="*/ 847586626 h 3841"/>
              <a:gd name="T96" fmla="*/ 847238989 w 3580"/>
              <a:gd name="T97" fmla="*/ 847586626 h 3841"/>
              <a:gd name="T98" fmla="*/ 847238989 w 3580"/>
              <a:gd name="T99" fmla="*/ 847586626 h 3841"/>
              <a:gd name="T100" fmla="*/ 847238989 w 3580"/>
              <a:gd name="T101" fmla="*/ 847586626 h 3841"/>
              <a:gd name="T102" fmla="*/ 847238989 w 3580"/>
              <a:gd name="T103" fmla="*/ 847586626 h 3841"/>
              <a:gd name="T104" fmla="*/ 847238989 w 3580"/>
              <a:gd name="T105" fmla="*/ 847586626 h 3841"/>
              <a:gd name="T106" fmla="*/ 847238989 w 3580"/>
              <a:gd name="T107" fmla="*/ 847586626 h 3841"/>
              <a:gd name="T108" fmla="*/ 847238989 w 3580"/>
              <a:gd name="T109" fmla="*/ 847586626 h 3841"/>
              <a:gd name="T110" fmla="*/ 847238989 w 3580"/>
              <a:gd name="T111" fmla="*/ 847586626 h 3841"/>
              <a:gd name="T112" fmla="*/ 847238989 w 3580"/>
              <a:gd name="T113" fmla="*/ 847586626 h 3841"/>
              <a:gd name="T114" fmla="*/ 847238989 w 3580"/>
              <a:gd name="T115" fmla="*/ 847586626 h 3841"/>
              <a:gd name="T116" fmla="*/ 847238989 w 3580"/>
              <a:gd name="T117" fmla="*/ 847586626 h 3841"/>
              <a:gd name="T118" fmla="*/ 847238989 w 3580"/>
              <a:gd name="T119" fmla="*/ 847586626 h 3841"/>
              <a:gd name="T120" fmla="*/ 847238989 w 3580"/>
              <a:gd name="T121" fmla="*/ 847586626 h 3841"/>
              <a:gd name="T122" fmla="*/ 847238989 w 3580"/>
              <a:gd name="T123" fmla="*/ 847586626 h 3841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580" h="3841">
                <a:moveTo>
                  <a:pt x="3580" y="2640"/>
                </a:moveTo>
                <a:lnTo>
                  <a:pt x="3491" y="1718"/>
                </a:lnTo>
                <a:lnTo>
                  <a:pt x="2890" y="2323"/>
                </a:lnTo>
                <a:lnTo>
                  <a:pt x="2881" y="2251"/>
                </a:lnTo>
                <a:lnTo>
                  <a:pt x="2871" y="2180"/>
                </a:lnTo>
                <a:lnTo>
                  <a:pt x="2859" y="2110"/>
                </a:lnTo>
                <a:lnTo>
                  <a:pt x="2846" y="2042"/>
                </a:lnTo>
                <a:lnTo>
                  <a:pt x="2831" y="1974"/>
                </a:lnTo>
                <a:lnTo>
                  <a:pt x="2816" y="1908"/>
                </a:lnTo>
                <a:lnTo>
                  <a:pt x="2799" y="1844"/>
                </a:lnTo>
                <a:lnTo>
                  <a:pt x="2782" y="1780"/>
                </a:lnTo>
                <a:lnTo>
                  <a:pt x="2762" y="1718"/>
                </a:lnTo>
                <a:lnTo>
                  <a:pt x="2742" y="1657"/>
                </a:lnTo>
                <a:lnTo>
                  <a:pt x="2719" y="1597"/>
                </a:lnTo>
                <a:lnTo>
                  <a:pt x="2697" y="1539"/>
                </a:lnTo>
                <a:lnTo>
                  <a:pt x="2672" y="1480"/>
                </a:lnTo>
                <a:lnTo>
                  <a:pt x="2647" y="1424"/>
                </a:lnTo>
                <a:lnTo>
                  <a:pt x="2620" y="1369"/>
                </a:lnTo>
                <a:lnTo>
                  <a:pt x="2592" y="1314"/>
                </a:lnTo>
                <a:lnTo>
                  <a:pt x="2564" y="1262"/>
                </a:lnTo>
                <a:lnTo>
                  <a:pt x="2533" y="1210"/>
                </a:lnTo>
                <a:lnTo>
                  <a:pt x="2501" y="1160"/>
                </a:lnTo>
                <a:lnTo>
                  <a:pt x="2469" y="1110"/>
                </a:lnTo>
                <a:lnTo>
                  <a:pt x="2435" y="1062"/>
                </a:lnTo>
                <a:lnTo>
                  <a:pt x="2401" y="1014"/>
                </a:lnTo>
                <a:lnTo>
                  <a:pt x="2365" y="968"/>
                </a:lnTo>
                <a:lnTo>
                  <a:pt x="2327" y="924"/>
                </a:lnTo>
                <a:lnTo>
                  <a:pt x="2289" y="880"/>
                </a:lnTo>
                <a:lnTo>
                  <a:pt x="2249" y="838"/>
                </a:lnTo>
                <a:lnTo>
                  <a:pt x="2209" y="797"/>
                </a:lnTo>
                <a:lnTo>
                  <a:pt x="2167" y="756"/>
                </a:lnTo>
                <a:lnTo>
                  <a:pt x="2124" y="717"/>
                </a:lnTo>
                <a:lnTo>
                  <a:pt x="2081" y="678"/>
                </a:lnTo>
                <a:lnTo>
                  <a:pt x="2036" y="641"/>
                </a:lnTo>
                <a:lnTo>
                  <a:pt x="1990" y="605"/>
                </a:lnTo>
                <a:lnTo>
                  <a:pt x="1942" y="570"/>
                </a:lnTo>
                <a:lnTo>
                  <a:pt x="1894" y="536"/>
                </a:lnTo>
                <a:lnTo>
                  <a:pt x="1845" y="504"/>
                </a:lnTo>
                <a:lnTo>
                  <a:pt x="1794" y="472"/>
                </a:lnTo>
                <a:lnTo>
                  <a:pt x="1743" y="442"/>
                </a:lnTo>
                <a:lnTo>
                  <a:pt x="1691" y="412"/>
                </a:lnTo>
                <a:lnTo>
                  <a:pt x="1637" y="383"/>
                </a:lnTo>
                <a:lnTo>
                  <a:pt x="1584" y="356"/>
                </a:lnTo>
                <a:lnTo>
                  <a:pt x="1528" y="330"/>
                </a:lnTo>
                <a:lnTo>
                  <a:pt x="1472" y="304"/>
                </a:lnTo>
                <a:lnTo>
                  <a:pt x="1415" y="280"/>
                </a:lnTo>
                <a:lnTo>
                  <a:pt x="1356" y="256"/>
                </a:lnTo>
                <a:lnTo>
                  <a:pt x="1298" y="234"/>
                </a:lnTo>
                <a:lnTo>
                  <a:pt x="1236" y="213"/>
                </a:lnTo>
                <a:lnTo>
                  <a:pt x="1175" y="193"/>
                </a:lnTo>
                <a:lnTo>
                  <a:pt x="1114" y="173"/>
                </a:lnTo>
                <a:lnTo>
                  <a:pt x="1051" y="155"/>
                </a:lnTo>
                <a:lnTo>
                  <a:pt x="987" y="138"/>
                </a:lnTo>
                <a:lnTo>
                  <a:pt x="923" y="122"/>
                </a:lnTo>
                <a:lnTo>
                  <a:pt x="857" y="107"/>
                </a:lnTo>
                <a:lnTo>
                  <a:pt x="790" y="92"/>
                </a:lnTo>
                <a:lnTo>
                  <a:pt x="722" y="78"/>
                </a:lnTo>
                <a:lnTo>
                  <a:pt x="654" y="67"/>
                </a:lnTo>
                <a:lnTo>
                  <a:pt x="584" y="56"/>
                </a:lnTo>
                <a:lnTo>
                  <a:pt x="514" y="45"/>
                </a:lnTo>
                <a:lnTo>
                  <a:pt x="443" y="36"/>
                </a:lnTo>
                <a:lnTo>
                  <a:pt x="371" y="27"/>
                </a:lnTo>
                <a:lnTo>
                  <a:pt x="299" y="20"/>
                </a:lnTo>
                <a:lnTo>
                  <a:pt x="226" y="14"/>
                </a:lnTo>
                <a:lnTo>
                  <a:pt x="151" y="7"/>
                </a:lnTo>
                <a:lnTo>
                  <a:pt x="76" y="4"/>
                </a:lnTo>
                <a:lnTo>
                  <a:pt x="0" y="0"/>
                </a:lnTo>
                <a:lnTo>
                  <a:pt x="99" y="58"/>
                </a:lnTo>
                <a:lnTo>
                  <a:pt x="194" y="118"/>
                </a:lnTo>
                <a:lnTo>
                  <a:pt x="288" y="180"/>
                </a:lnTo>
                <a:lnTo>
                  <a:pt x="377" y="243"/>
                </a:lnTo>
                <a:lnTo>
                  <a:pt x="466" y="305"/>
                </a:lnTo>
                <a:lnTo>
                  <a:pt x="550" y="370"/>
                </a:lnTo>
                <a:lnTo>
                  <a:pt x="633" y="434"/>
                </a:lnTo>
                <a:lnTo>
                  <a:pt x="712" y="502"/>
                </a:lnTo>
                <a:lnTo>
                  <a:pt x="788" y="569"/>
                </a:lnTo>
                <a:lnTo>
                  <a:pt x="862" y="636"/>
                </a:lnTo>
                <a:lnTo>
                  <a:pt x="933" y="706"/>
                </a:lnTo>
                <a:lnTo>
                  <a:pt x="1000" y="777"/>
                </a:lnTo>
                <a:lnTo>
                  <a:pt x="1065" y="848"/>
                </a:lnTo>
                <a:lnTo>
                  <a:pt x="1096" y="884"/>
                </a:lnTo>
                <a:lnTo>
                  <a:pt x="1126" y="920"/>
                </a:lnTo>
                <a:lnTo>
                  <a:pt x="1156" y="957"/>
                </a:lnTo>
                <a:lnTo>
                  <a:pt x="1184" y="993"/>
                </a:lnTo>
                <a:lnTo>
                  <a:pt x="1213" y="1031"/>
                </a:lnTo>
                <a:lnTo>
                  <a:pt x="1240" y="1068"/>
                </a:lnTo>
                <a:lnTo>
                  <a:pt x="1266" y="1105"/>
                </a:lnTo>
                <a:lnTo>
                  <a:pt x="1293" y="1144"/>
                </a:lnTo>
                <a:lnTo>
                  <a:pt x="1317" y="1181"/>
                </a:lnTo>
                <a:lnTo>
                  <a:pt x="1341" y="1220"/>
                </a:lnTo>
                <a:lnTo>
                  <a:pt x="1365" y="1258"/>
                </a:lnTo>
                <a:lnTo>
                  <a:pt x="1387" y="1298"/>
                </a:lnTo>
                <a:lnTo>
                  <a:pt x="1408" y="1337"/>
                </a:lnTo>
                <a:lnTo>
                  <a:pt x="1429" y="1377"/>
                </a:lnTo>
                <a:lnTo>
                  <a:pt x="1449" y="1417"/>
                </a:lnTo>
                <a:lnTo>
                  <a:pt x="1468" y="1456"/>
                </a:lnTo>
                <a:lnTo>
                  <a:pt x="1487" y="1496"/>
                </a:lnTo>
                <a:lnTo>
                  <a:pt x="1504" y="1537"/>
                </a:lnTo>
                <a:lnTo>
                  <a:pt x="1522" y="1577"/>
                </a:lnTo>
                <a:lnTo>
                  <a:pt x="1538" y="1618"/>
                </a:lnTo>
                <a:lnTo>
                  <a:pt x="1553" y="1659"/>
                </a:lnTo>
                <a:lnTo>
                  <a:pt x="1566" y="1702"/>
                </a:lnTo>
                <a:lnTo>
                  <a:pt x="1580" y="1743"/>
                </a:lnTo>
                <a:lnTo>
                  <a:pt x="1593" y="1785"/>
                </a:lnTo>
                <a:lnTo>
                  <a:pt x="1604" y="1827"/>
                </a:lnTo>
                <a:lnTo>
                  <a:pt x="1615" y="1870"/>
                </a:lnTo>
                <a:lnTo>
                  <a:pt x="1625" y="1913"/>
                </a:lnTo>
                <a:lnTo>
                  <a:pt x="1634" y="1956"/>
                </a:lnTo>
                <a:lnTo>
                  <a:pt x="1642" y="1999"/>
                </a:lnTo>
                <a:lnTo>
                  <a:pt x="1650" y="2043"/>
                </a:lnTo>
                <a:lnTo>
                  <a:pt x="1656" y="2088"/>
                </a:lnTo>
                <a:lnTo>
                  <a:pt x="1661" y="2131"/>
                </a:lnTo>
                <a:lnTo>
                  <a:pt x="1666" y="2176"/>
                </a:lnTo>
                <a:lnTo>
                  <a:pt x="1670" y="2221"/>
                </a:lnTo>
                <a:lnTo>
                  <a:pt x="1672" y="2266"/>
                </a:lnTo>
                <a:lnTo>
                  <a:pt x="1675" y="2310"/>
                </a:lnTo>
                <a:lnTo>
                  <a:pt x="1675" y="2357"/>
                </a:lnTo>
                <a:lnTo>
                  <a:pt x="1676" y="2401"/>
                </a:lnTo>
                <a:lnTo>
                  <a:pt x="1017" y="1953"/>
                </a:lnTo>
                <a:lnTo>
                  <a:pt x="1106" y="2876"/>
                </a:lnTo>
                <a:lnTo>
                  <a:pt x="2445" y="3841"/>
                </a:lnTo>
                <a:lnTo>
                  <a:pt x="3580" y="2640"/>
                </a:lnTo>
                <a:close/>
              </a:path>
            </a:pathLst>
          </a:custGeom>
          <a:solidFill>
            <a:srgbClr val="C00000"/>
          </a:solidFill>
          <a:ln w="38100">
            <a:solidFill>
              <a:schemeClr val="bg1"/>
            </a:solidFill>
          </a:ln>
          <a:extLst/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9496" y="3429000"/>
            <a:ext cx="3472431" cy="1424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412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TW" altLang="en-US" dirty="0">
                <a:latin typeface="微軟正黑體" panose="020B0604030504040204" pitchFamily="34" charset="-120"/>
              </a:rPr>
              <a:t>其他二維</a:t>
            </a:r>
            <a:r>
              <a:rPr lang="zh-TW" altLang="en-US" dirty="0" smtClean="0">
                <a:latin typeface="微軟正黑體" panose="020B0604030504040204" pitchFamily="34" charset="-120"/>
              </a:rPr>
              <a:t>圖形 </a:t>
            </a:r>
            <a:r>
              <a:rPr lang="en-US" altLang="zh-TW" dirty="0" smtClean="0"/>
              <a:t>(2/4</a:t>
            </a:r>
            <a:r>
              <a:rPr lang="en-US" altLang="zh-TW" dirty="0"/>
              <a:t>)</a:t>
            </a:r>
            <a:endParaRPr lang="zh-TW" altLang="zh-TW" dirty="0"/>
          </a:p>
        </p:txBody>
      </p:sp>
      <p:sp>
        <p:nvSpPr>
          <p:cNvPr id="48131" name="投影片編號版面配置區 5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85000" lnSpcReduction="20000"/>
          </a:bodyPr>
          <a:lstStyle/>
          <a:p>
            <a:fld id="{B89D914F-295F-4C2E-8701-5119655D00EA}" type="slidenum">
              <a:rPr lang="zh-TW" altLang="en-US"/>
              <a:pPr/>
              <a:t>18</a:t>
            </a:fld>
            <a:endParaRPr lang="en-US" altLang="zh-TW"/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1659052" y="1839718"/>
            <a:ext cx="9693532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/>
            <a:r>
              <a:rPr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直方圖</a:t>
            </a:r>
            <a:r>
              <a:rPr lang="en-US" altLang="zh-TW" sz="2000" b="1" dirty="0" smtClean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(histogram</a:t>
            </a:r>
            <a:r>
              <a:rPr lang="en-US" altLang="zh-TW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)</a:t>
            </a:r>
            <a:r>
              <a:rPr lang="zh-TW" altLang="en-US" sz="2000" dirty="0" smtClean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：顯示</a:t>
            </a:r>
            <a:r>
              <a:rPr lang="zh-TW" altLang="en-US" sz="2000" dirty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資料的分佈情況和統計特性，資料量越大時，逼近程度越</a:t>
            </a:r>
            <a:r>
              <a:rPr lang="zh-TW" altLang="en-US" sz="2000" dirty="0" smtClean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高</a:t>
            </a:r>
            <a:endParaRPr lang="zh-TW" altLang="en-US" sz="2000" dirty="0">
              <a:solidFill>
                <a:schemeClr val="tx1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0" name="Oval 77"/>
          <p:cNvSpPr>
            <a:spLocks noChangeArrowheads="1"/>
          </p:cNvSpPr>
          <p:nvPr/>
        </p:nvSpPr>
        <p:spPr bwMode="auto">
          <a:xfrm>
            <a:off x="983432" y="184482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/>
            <a:r>
              <a:rPr lang="en-US" altLang="zh-TW" sz="2000" dirty="0" smtClean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2</a:t>
            </a:r>
            <a:endParaRPr lang="en-US" sz="2000" dirty="0">
              <a:solidFill>
                <a:srgbClr val="0E457D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pic>
        <p:nvPicPr>
          <p:cNvPr id="6" name="圖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0800" y="2422800"/>
            <a:ext cx="4589112" cy="4140000"/>
          </a:xfrm>
          <a:prstGeom prst="rect">
            <a:avLst/>
          </a:prstGeom>
        </p:spPr>
      </p:pic>
      <p:sp>
        <p:nvSpPr>
          <p:cNvPr id="17" name="KSO_Shape"/>
          <p:cNvSpPr>
            <a:spLocks noChangeAspect="1"/>
          </p:cNvSpPr>
          <p:nvPr/>
        </p:nvSpPr>
        <p:spPr bwMode="auto">
          <a:xfrm rot="18286279">
            <a:off x="5084858" y="3862833"/>
            <a:ext cx="694278" cy="745200"/>
          </a:xfrm>
          <a:custGeom>
            <a:avLst/>
            <a:gdLst>
              <a:gd name="T0" fmla="*/ 847238989 w 3580"/>
              <a:gd name="T1" fmla="*/ 847586626 h 3841"/>
              <a:gd name="T2" fmla="*/ 847238989 w 3580"/>
              <a:gd name="T3" fmla="*/ 847586626 h 3841"/>
              <a:gd name="T4" fmla="*/ 847238989 w 3580"/>
              <a:gd name="T5" fmla="*/ 847586626 h 3841"/>
              <a:gd name="T6" fmla="*/ 847238989 w 3580"/>
              <a:gd name="T7" fmla="*/ 847586626 h 3841"/>
              <a:gd name="T8" fmla="*/ 847238989 w 3580"/>
              <a:gd name="T9" fmla="*/ 847586626 h 3841"/>
              <a:gd name="T10" fmla="*/ 847238989 w 3580"/>
              <a:gd name="T11" fmla="*/ 847586626 h 3841"/>
              <a:gd name="T12" fmla="*/ 847238989 w 3580"/>
              <a:gd name="T13" fmla="*/ 847586626 h 3841"/>
              <a:gd name="T14" fmla="*/ 847238989 w 3580"/>
              <a:gd name="T15" fmla="*/ 847586626 h 3841"/>
              <a:gd name="T16" fmla="*/ 847238989 w 3580"/>
              <a:gd name="T17" fmla="*/ 847586626 h 3841"/>
              <a:gd name="T18" fmla="*/ 847238989 w 3580"/>
              <a:gd name="T19" fmla="*/ 847586626 h 3841"/>
              <a:gd name="T20" fmla="*/ 847238989 w 3580"/>
              <a:gd name="T21" fmla="*/ 847586626 h 3841"/>
              <a:gd name="T22" fmla="*/ 847238989 w 3580"/>
              <a:gd name="T23" fmla="*/ 847586626 h 3841"/>
              <a:gd name="T24" fmla="*/ 847238989 w 3580"/>
              <a:gd name="T25" fmla="*/ 847586626 h 3841"/>
              <a:gd name="T26" fmla="*/ 847238989 w 3580"/>
              <a:gd name="T27" fmla="*/ 847586626 h 3841"/>
              <a:gd name="T28" fmla="*/ 847238989 w 3580"/>
              <a:gd name="T29" fmla="*/ 847586626 h 3841"/>
              <a:gd name="T30" fmla="*/ 847238989 w 3580"/>
              <a:gd name="T31" fmla="*/ 847586626 h 3841"/>
              <a:gd name="T32" fmla="*/ 847238989 w 3580"/>
              <a:gd name="T33" fmla="*/ 847586626 h 3841"/>
              <a:gd name="T34" fmla="*/ 847238989 w 3580"/>
              <a:gd name="T35" fmla="*/ 847586626 h 3841"/>
              <a:gd name="T36" fmla="*/ 847238989 w 3580"/>
              <a:gd name="T37" fmla="*/ 847586626 h 3841"/>
              <a:gd name="T38" fmla="*/ 847238989 w 3580"/>
              <a:gd name="T39" fmla="*/ 847586626 h 3841"/>
              <a:gd name="T40" fmla="*/ 847238989 w 3580"/>
              <a:gd name="T41" fmla="*/ 847586626 h 3841"/>
              <a:gd name="T42" fmla="*/ 847238989 w 3580"/>
              <a:gd name="T43" fmla="*/ 847586626 h 3841"/>
              <a:gd name="T44" fmla="*/ 847238989 w 3580"/>
              <a:gd name="T45" fmla="*/ 847586626 h 3841"/>
              <a:gd name="T46" fmla="*/ 847238989 w 3580"/>
              <a:gd name="T47" fmla="*/ 847586626 h 3841"/>
              <a:gd name="T48" fmla="*/ 847238989 w 3580"/>
              <a:gd name="T49" fmla="*/ 847586626 h 3841"/>
              <a:gd name="T50" fmla="*/ 847238989 w 3580"/>
              <a:gd name="T51" fmla="*/ 847586626 h 3841"/>
              <a:gd name="T52" fmla="*/ 847238989 w 3580"/>
              <a:gd name="T53" fmla="*/ 847586626 h 3841"/>
              <a:gd name="T54" fmla="*/ 847238989 w 3580"/>
              <a:gd name="T55" fmla="*/ 847586626 h 3841"/>
              <a:gd name="T56" fmla="*/ 847238989 w 3580"/>
              <a:gd name="T57" fmla="*/ 847586626 h 3841"/>
              <a:gd name="T58" fmla="*/ 847238989 w 3580"/>
              <a:gd name="T59" fmla="*/ 847586626 h 3841"/>
              <a:gd name="T60" fmla="*/ 847238989 w 3580"/>
              <a:gd name="T61" fmla="*/ 847586626 h 3841"/>
              <a:gd name="T62" fmla="*/ 847238989 w 3580"/>
              <a:gd name="T63" fmla="*/ 847586626 h 3841"/>
              <a:gd name="T64" fmla="*/ 847238989 w 3580"/>
              <a:gd name="T65" fmla="*/ 847586626 h 3841"/>
              <a:gd name="T66" fmla="*/ 847238989 w 3580"/>
              <a:gd name="T67" fmla="*/ 847586626 h 3841"/>
              <a:gd name="T68" fmla="*/ 847238989 w 3580"/>
              <a:gd name="T69" fmla="*/ 847586626 h 3841"/>
              <a:gd name="T70" fmla="*/ 847238989 w 3580"/>
              <a:gd name="T71" fmla="*/ 847586626 h 3841"/>
              <a:gd name="T72" fmla="*/ 847238989 w 3580"/>
              <a:gd name="T73" fmla="*/ 847586626 h 3841"/>
              <a:gd name="T74" fmla="*/ 847238989 w 3580"/>
              <a:gd name="T75" fmla="*/ 847586626 h 3841"/>
              <a:gd name="T76" fmla="*/ 847238989 w 3580"/>
              <a:gd name="T77" fmla="*/ 847586626 h 3841"/>
              <a:gd name="T78" fmla="*/ 847238989 w 3580"/>
              <a:gd name="T79" fmla="*/ 847586626 h 3841"/>
              <a:gd name="T80" fmla="*/ 847238989 w 3580"/>
              <a:gd name="T81" fmla="*/ 847586626 h 3841"/>
              <a:gd name="T82" fmla="*/ 847238989 w 3580"/>
              <a:gd name="T83" fmla="*/ 847586626 h 3841"/>
              <a:gd name="T84" fmla="*/ 847238989 w 3580"/>
              <a:gd name="T85" fmla="*/ 847586626 h 3841"/>
              <a:gd name="T86" fmla="*/ 847238989 w 3580"/>
              <a:gd name="T87" fmla="*/ 847586626 h 3841"/>
              <a:gd name="T88" fmla="*/ 847238989 w 3580"/>
              <a:gd name="T89" fmla="*/ 847586626 h 3841"/>
              <a:gd name="T90" fmla="*/ 847238989 w 3580"/>
              <a:gd name="T91" fmla="*/ 847586626 h 3841"/>
              <a:gd name="T92" fmla="*/ 847238989 w 3580"/>
              <a:gd name="T93" fmla="*/ 847586626 h 3841"/>
              <a:gd name="T94" fmla="*/ 847238989 w 3580"/>
              <a:gd name="T95" fmla="*/ 847586626 h 3841"/>
              <a:gd name="T96" fmla="*/ 847238989 w 3580"/>
              <a:gd name="T97" fmla="*/ 847586626 h 3841"/>
              <a:gd name="T98" fmla="*/ 847238989 w 3580"/>
              <a:gd name="T99" fmla="*/ 847586626 h 3841"/>
              <a:gd name="T100" fmla="*/ 847238989 w 3580"/>
              <a:gd name="T101" fmla="*/ 847586626 h 3841"/>
              <a:gd name="T102" fmla="*/ 847238989 w 3580"/>
              <a:gd name="T103" fmla="*/ 847586626 h 3841"/>
              <a:gd name="T104" fmla="*/ 847238989 w 3580"/>
              <a:gd name="T105" fmla="*/ 847586626 h 3841"/>
              <a:gd name="T106" fmla="*/ 847238989 w 3580"/>
              <a:gd name="T107" fmla="*/ 847586626 h 3841"/>
              <a:gd name="T108" fmla="*/ 847238989 w 3580"/>
              <a:gd name="T109" fmla="*/ 847586626 h 3841"/>
              <a:gd name="T110" fmla="*/ 847238989 w 3580"/>
              <a:gd name="T111" fmla="*/ 847586626 h 3841"/>
              <a:gd name="T112" fmla="*/ 847238989 w 3580"/>
              <a:gd name="T113" fmla="*/ 847586626 h 3841"/>
              <a:gd name="T114" fmla="*/ 847238989 w 3580"/>
              <a:gd name="T115" fmla="*/ 847586626 h 3841"/>
              <a:gd name="T116" fmla="*/ 847238989 w 3580"/>
              <a:gd name="T117" fmla="*/ 847586626 h 3841"/>
              <a:gd name="T118" fmla="*/ 847238989 w 3580"/>
              <a:gd name="T119" fmla="*/ 847586626 h 3841"/>
              <a:gd name="T120" fmla="*/ 847238989 w 3580"/>
              <a:gd name="T121" fmla="*/ 847586626 h 3841"/>
              <a:gd name="T122" fmla="*/ 847238989 w 3580"/>
              <a:gd name="T123" fmla="*/ 847586626 h 3841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580" h="3841">
                <a:moveTo>
                  <a:pt x="3580" y="2640"/>
                </a:moveTo>
                <a:lnTo>
                  <a:pt x="3491" y="1718"/>
                </a:lnTo>
                <a:lnTo>
                  <a:pt x="2890" y="2323"/>
                </a:lnTo>
                <a:lnTo>
                  <a:pt x="2881" y="2251"/>
                </a:lnTo>
                <a:lnTo>
                  <a:pt x="2871" y="2180"/>
                </a:lnTo>
                <a:lnTo>
                  <a:pt x="2859" y="2110"/>
                </a:lnTo>
                <a:lnTo>
                  <a:pt x="2846" y="2042"/>
                </a:lnTo>
                <a:lnTo>
                  <a:pt x="2831" y="1974"/>
                </a:lnTo>
                <a:lnTo>
                  <a:pt x="2816" y="1908"/>
                </a:lnTo>
                <a:lnTo>
                  <a:pt x="2799" y="1844"/>
                </a:lnTo>
                <a:lnTo>
                  <a:pt x="2782" y="1780"/>
                </a:lnTo>
                <a:lnTo>
                  <a:pt x="2762" y="1718"/>
                </a:lnTo>
                <a:lnTo>
                  <a:pt x="2742" y="1657"/>
                </a:lnTo>
                <a:lnTo>
                  <a:pt x="2719" y="1597"/>
                </a:lnTo>
                <a:lnTo>
                  <a:pt x="2697" y="1539"/>
                </a:lnTo>
                <a:lnTo>
                  <a:pt x="2672" y="1480"/>
                </a:lnTo>
                <a:lnTo>
                  <a:pt x="2647" y="1424"/>
                </a:lnTo>
                <a:lnTo>
                  <a:pt x="2620" y="1369"/>
                </a:lnTo>
                <a:lnTo>
                  <a:pt x="2592" y="1314"/>
                </a:lnTo>
                <a:lnTo>
                  <a:pt x="2564" y="1262"/>
                </a:lnTo>
                <a:lnTo>
                  <a:pt x="2533" y="1210"/>
                </a:lnTo>
                <a:lnTo>
                  <a:pt x="2501" y="1160"/>
                </a:lnTo>
                <a:lnTo>
                  <a:pt x="2469" y="1110"/>
                </a:lnTo>
                <a:lnTo>
                  <a:pt x="2435" y="1062"/>
                </a:lnTo>
                <a:lnTo>
                  <a:pt x="2401" y="1014"/>
                </a:lnTo>
                <a:lnTo>
                  <a:pt x="2365" y="968"/>
                </a:lnTo>
                <a:lnTo>
                  <a:pt x="2327" y="924"/>
                </a:lnTo>
                <a:lnTo>
                  <a:pt x="2289" y="880"/>
                </a:lnTo>
                <a:lnTo>
                  <a:pt x="2249" y="838"/>
                </a:lnTo>
                <a:lnTo>
                  <a:pt x="2209" y="797"/>
                </a:lnTo>
                <a:lnTo>
                  <a:pt x="2167" y="756"/>
                </a:lnTo>
                <a:lnTo>
                  <a:pt x="2124" y="717"/>
                </a:lnTo>
                <a:lnTo>
                  <a:pt x="2081" y="678"/>
                </a:lnTo>
                <a:lnTo>
                  <a:pt x="2036" y="641"/>
                </a:lnTo>
                <a:lnTo>
                  <a:pt x="1990" y="605"/>
                </a:lnTo>
                <a:lnTo>
                  <a:pt x="1942" y="570"/>
                </a:lnTo>
                <a:lnTo>
                  <a:pt x="1894" y="536"/>
                </a:lnTo>
                <a:lnTo>
                  <a:pt x="1845" y="504"/>
                </a:lnTo>
                <a:lnTo>
                  <a:pt x="1794" y="472"/>
                </a:lnTo>
                <a:lnTo>
                  <a:pt x="1743" y="442"/>
                </a:lnTo>
                <a:lnTo>
                  <a:pt x="1691" y="412"/>
                </a:lnTo>
                <a:lnTo>
                  <a:pt x="1637" y="383"/>
                </a:lnTo>
                <a:lnTo>
                  <a:pt x="1584" y="356"/>
                </a:lnTo>
                <a:lnTo>
                  <a:pt x="1528" y="330"/>
                </a:lnTo>
                <a:lnTo>
                  <a:pt x="1472" y="304"/>
                </a:lnTo>
                <a:lnTo>
                  <a:pt x="1415" y="280"/>
                </a:lnTo>
                <a:lnTo>
                  <a:pt x="1356" y="256"/>
                </a:lnTo>
                <a:lnTo>
                  <a:pt x="1298" y="234"/>
                </a:lnTo>
                <a:lnTo>
                  <a:pt x="1236" y="213"/>
                </a:lnTo>
                <a:lnTo>
                  <a:pt x="1175" y="193"/>
                </a:lnTo>
                <a:lnTo>
                  <a:pt x="1114" y="173"/>
                </a:lnTo>
                <a:lnTo>
                  <a:pt x="1051" y="155"/>
                </a:lnTo>
                <a:lnTo>
                  <a:pt x="987" y="138"/>
                </a:lnTo>
                <a:lnTo>
                  <a:pt x="923" y="122"/>
                </a:lnTo>
                <a:lnTo>
                  <a:pt x="857" y="107"/>
                </a:lnTo>
                <a:lnTo>
                  <a:pt x="790" y="92"/>
                </a:lnTo>
                <a:lnTo>
                  <a:pt x="722" y="78"/>
                </a:lnTo>
                <a:lnTo>
                  <a:pt x="654" y="67"/>
                </a:lnTo>
                <a:lnTo>
                  <a:pt x="584" y="56"/>
                </a:lnTo>
                <a:lnTo>
                  <a:pt x="514" y="45"/>
                </a:lnTo>
                <a:lnTo>
                  <a:pt x="443" y="36"/>
                </a:lnTo>
                <a:lnTo>
                  <a:pt x="371" y="27"/>
                </a:lnTo>
                <a:lnTo>
                  <a:pt x="299" y="20"/>
                </a:lnTo>
                <a:lnTo>
                  <a:pt x="226" y="14"/>
                </a:lnTo>
                <a:lnTo>
                  <a:pt x="151" y="7"/>
                </a:lnTo>
                <a:lnTo>
                  <a:pt x="76" y="4"/>
                </a:lnTo>
                <a:lnTo>
                  <a:pt x="0" y="0"/>
                </a:lnTo>
                <a:lnTo>
                  <a:pt x="99" y="58"/>
                </a:lnTo>
                <a:lnTo>
                  <a:pt x="194" y="118"/>
                </a:lnTo>
                <a:lnTo>
                  <a:pt x="288" y="180"/>
                </a:lnTo>
                <a:lnTo>
                  <a:pt x="377" y="243"/>
                </a:lnTo>
                <a:lnTo>
                  <a:pt x="466" y="305"/>
                </a:lnTo>
                <a:lnTo>
                  <a:pt x="550" y="370"/>
                </a:lnTo>
                <a:lnTo>
                  <a:pt x="633" y="434"/>
                </a:lnTo>
                <a:lnTo>
                  <a:pt x="712" y="502"/>
                </a:lnTo>
                <a:lnTo>
                  <a:pt x="788" y="569"/>
                </a:lnTo>
                <a:lnTo>
                  <a:pt x="862" y="636"/>
                </a:lnTo>
                <a:lnTo>
                  <a:pt x="933" y="706"/>
                </a:lnTo>
                <a:lnTo>
                  <a:pt x="1000" y="777"/>
                </a:lnTo>
                <a:lnTo>
                  <a:pt x="1065" y="848"/>
                </a:lnTo>
                <a:lnTo>
                  <a:pt x="1096" y="884"/>
                </a:lnTo>
                <a:lnTo>
                  <a:pt x="1126" y="920"/>
                </a:lnTo>
                <a:lnTo>
                  <a:pt x="1156" y="957"/>
                </a:lnTo>
                <a:lnTo>
                  <a:pt x="1184" y="993"/>
                </a:lnTo>
                <a:lnTo>
                  <a:pt x="1213" y="1031"/>
                </a:lnTo>
                <a:lnTo>
                  <a:pt x="1240" y="1068"/>
                </a:lnTo>
                <a:lnTo>
                  <a:pt x="1266" y="1105"/>
                </a:lnTo>
                <a:lnTo>
                  <a:pt x="1293" y="1144"/>
                </a:lnTo>
                <a:lnTo>
                  <a:pt x="1317" y="1181"/>
                </a:lnTo>
                <a:lnTo>
                  <a:pt x="1341" y="1220"/>
                </a:lnTo>
                <a:lnTo>
                  <a:pt x="1365" y="1258"/>
                </a:lnTo>
                <a:lnTo>
                  <a:pt x="1387" y="1298"/>
                </a:lnTo>
                <a:lnTo>
                  <a:pt x="1408" y="1337"/>
                </a:lnTo>
                <a:lnTo>
                  <a:pt x="1429" y="1377"/>
                </a:lnTo>
                <a:lnTo>
                  <a:pt x="1449" y="1417"/>
                </a:lnTo>
                <a:lnTo>
                  <a:pt x="1468" y="1456"/>
                </a:lnTo>
                <a:lnTo>
                  <a:pt x="1487" y="1496"/>
                </a:lnTo>
                <a:lnTo>
                  <a:pt x="1504" y="1537"/>
                </a:lnTo>
                <a:lnTo>
                  <a:pt x="1522" y="1577"/>
                </a:lnTo>
                <a:lnTo>
                  <a:pt x="1538" y="1618"/>
                </a:lnTo>
                <a:lnTo>
                  <a:pt x="1553" y="1659"/>
                </a:lnTo>
                <a:lnTo>
                  <a:pt x="1566" y="1702"/>
                </a:lnTo>
                <a:lnTo>
                  <a:pt x="1580" y="1743"/>
                </a:lnTo>
                <a:lnTo>
                  <a:pt x="1593" y="1785"/>
                </a:lnTo>
                <a:lnTo>
                  <a:pt x="1604" y="1827"/>
                </a:lnTo>
                <a:lnTo>
                  <a:pt x="1615" y="1870"/>
                </a:lnTo>
                <a:lnTo>
                  <a:pt x="1625" y="1913"/>
                </a:lnTo>
                <a:lnTo>
                  <a:pt x="1634" y="1956"/>
                </a:lnTo>
                <a:lnTo>
                  <a:pt x="1642" y="1999"/>
                </a:lnTo>
                <a:lnTo>
                  <a:pt x="1650" y="2043"/>
                </a:lnTo>
                <a:lnTo>
                  <a:pt x="1656" y="2088"/>
                </a:lnTo>
                <a:lnTo>
                  <a:pt x="1661" y="2131"/>
                </a:lnTo>
                <a:lnTo>
                  <a:pt x="1666" y="2176"/>
                </a:lnTo>
                <a:lnTo>
                  <a:pt x="1670" y="2221"/>
                </a:lnTo>
                <a:lnTo>
                  <a:pt x="1672" y="2266"/>
                </a:lnTo>
                <a:lnTo>
                  <a:pt x="1675" y="2310"/>
                </a:lnTo>
                <a:lnTo>
                  <a:pt x="1675" y="2357"/>
                </a:lnTo>
                <a:lnTo>
                  <a:pt x="1676" y="2401"/>
                </a:lnTo>
                <a:lnTo>
                  <a:pt x="1017" y="1953"/>
                </a:lnTo>
                <a:lnTo>
                  <a:pt x="1106" y="2876"/>
                </a:lnTo>
                <a:lnTo>
                  <a:pt x="2445" y="3841"/>
                </a:lnTo>
                <a:lnTo>
                  <a:pt x="3580" y="2640"/>
                </a:lnTo>
                <a:close/>
              </a:path>
            </a:pathLst>
          </a:custGeom>
          <a:solidFill>
            <a:srgbClr val="C00000"/>
          </a:solidFill>
          <a:ln w="38100">
            <a:solidFill>
              <a:schemeClr val="bg1"/>
            </a:solidFill>
          </a:ln>
          <a:extLst/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3" name="圖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38739" y="3530391"/>
            <a:ext cx="3414782" cy="1410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961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圖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0800" y="2422800"/>
            <a:ext cx="4589112" cy="4140000"/>
          </a:xfrm>
          <a:prstGeom prst="rect">
            <a:avLst/>
          </a:prstGeom>
        </p:spPr>
      </p:pic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TW" altLang="en-US" dirty="0">
                <a:latin typeface="微軟正黑體" panose="020B0604030504040204" pitchFamily="34" charset="-120"/>
              </a:rPr>
              <a:t>其他二維</a:t>
            </a:r>
            <a:r>
              <a:rPr lang="zh-TW" altLang="en-US" dirty="0" smtClean="0">
                <a:latin typeface="微軟正黑體" panose="020B0604030504040204" pitchFamily="34" charset="-120"/>
              </a:rPr>
              <a:t>圖形 </a:t>
            </a:r>
            <a:r>
              <a:rPr lang="en-US" altLang="zh-TW" dirty="0" smtClean="0"/>
              <a:t>(3/4</a:t>
            </a:r>
            <a:r>
              <a:rPr lang="en-US" altLang="zh-TW" dirty="0"/>
              <a:t>)</a:t>
            </a:r>
            <a:endParaRPr lang="zh-TW" altLang="zh-TW" dirty="0"/>
          </a:p>
        </p:txBody>
      </p:sp>
      <p:sp>
        <p:nvSpPr>
          <p:cNvPr id="48131" name="投影片編號版面配置區 5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85000" lnSpcReduction="20000"/>
          </a:bodyPr>
          <a:lstStyle/>
          <a:p>
            <a:fld id="{B89D914F-295F-4C2E-8701-5119655D00EA}" type="slidenum">
              <a:rPr lang="zh-TW" altLang="en-US"/>
              <a:pPr/>
              <a:t>19</a:t>
            </a:fld>
            <a:endParaRPr lang="en-US" altLang="zh-TW"/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1659052" y="1839718"/>
            <a:ext cx="9693532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/>
            <a:r>
              <a:rPr lang="zh-TW" altLang="en-US" sz="2000" dirty="0" smtClean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針狀圖</a:t>
            </a:r>
            <a:r>
              <a:rPr lang="en-US" altLang="zh-TW" sz="2000" b="1" dirty="0" smtClean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(stem)</a:t>
            </a:r>
            <a:endParaRPr lang="zh-TW" altLang="en-US" sz="2000" dirty="0">
              <a:solidFill>
                <a:schemeClr val="tx1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0" name="Oval 77"/>
          <p:cNvSpPr>
            <a:spLocks noChangeArrowheads="1"/>
          </p:cNvSpPr>
          <p:nvPr/>
        </p:nvSpPr>
        <p:spPr bwMode="auto">
          <a:xfrm>
            <a:off x="983432" y="184482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/>
            <a:r>
              <a:rPr lang="en-US" altLang="zh-TW" sz="2000" dirty="0" smtClean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3</a:t>
            </a:r>
            <a:endParaRPr lang="en-US" sz="2000" dirty="0">
              <a:solidFill>
                <a:srgbClr val="0E457D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7" name="KSO_Shape"/>
          <p:cNvSpPr>
            <a:spLocks noChangeAspect="1"/>
          </p:cNvSpPr>
          <p:nvPr/>
        </p:nvSpPr>
        <p:spPr bwMode="auto">
          <a:xfrm rot="18286279">
            <a:off x="5084858" y="3862833"/>
            <a:ext cx="694278" cy="745200"/>
          </a:xfrm>
          <a:custGeom>
            <a:avLst/>
            <a:gdLst>
              <a:gd name="T0" fmla="*/ 847238989 w 3580"/>
              <a:gd name="T1" fmla="*/ 847586626 h 3841"/>
              <a:gd name="T2" fmla="*/ 847238989 w 3580"/>
              <a:gd name="T3" fmla="*/ 847586626 h 3841"/>
              <a:gd name="T4" fmla="*/ 847238989 w 3580"/>
              <a:gd name="T5" fmla="*/ 847586626 h 3841"/>
              <a:gd name="T6" fmla="*/ 847238989 w 3580"/>
              <a:gd name="T7" fmla="*/ 847586626 h 3841"/>
              <a:gd name="T8" fmla="*/ 847238989 w 3580"/>
              <a:gd name="T9" fmla="*/ 847586626 h 3841"/>
              <a:gd name="T10" fmla="*/ 847238989 w 3580"/>
              <a:gd name="T11" fmla="*/ 847586626 h 3841"/>
              <a:gd name="T12" fmla="*/ 847238989 w 3580"/>
              <a:gd name="T13" fmla="*/ 847586626 h 3841"/>
              <a:gd name="T14" fmla="*/ 847238989 w 3580"/>
              <a:gd name="T15" fmla="*/ 847586626 h 3841"/>
              <a:gd name="T16" fmla="*/ 847238989 w 3580"/>
              <a:gd name="T17" fmla="*/ 847586626 h 3841"/>
              <a:gd name="T18" fmla="*/ 847238989 w 3580"/>
              <a:gd name="T19" fmla="*/ 847586626 h 3841"/>
              <a:gd name="T20" fmla="*/ 847238989 w 3580"/>
              <a:gd name="T21" fmla="*/ 847586626 h 3841"/>
              <a:gd name="T22" fmla="*/ 847238989 w 3580"/>
              <a:gd name="T23" fmla="*/ 847586626 h 3841"/>
              <a:gd name="T24" fmla="*/ 847238989 w 3580"/>
              <a:gd name="T25" fmla="*/ 847586626 h 3841"/>
              <a:gd name="T26" fmla="*/ 847238989 w 3580"/>
              <a:gd name="T27" fmla="*/ 847586626 h 3841"/>
              <a:gd name="T28" fmla="*/ 847238989 w 3580"/>
              <a:gd name="T29" fmla="*/ 847586626 h 3841"/>
              <a:gd name="T30" fmla="*/ 847238989 w 3580"/>
              <a:gd name="T31" fmla="*/ 847586626 h 3841"/>
              <a:gd name="T32" fmla="*/ 847238989 w 3580"/>
              <a:gd name="T33" fmla="*/ 847586626 h 3841"/>
              <a:gd name="T34" fmla="*/ 847238989 w 3580"/>
              <a:gd name="T35" fmla="*/ 847586626 h 3841"/>
              <a:gd name="T36" fmla="*/ 847238989 w 3580"/>
              <a:gd name="T37" fmla="*/ 847586626 h 3841"/>
              <a:gd name="T38" fmla="*/ 847238989 w 3580"/>
              <a:gd name="T39" fmla="*/ 847586626 h 3841"/>
              <a:gd name="T40" fmla="*/ 847238989 w 3580"/>
              <a:gd name="T41" fmla="*/ 847586626 h 3841"/>
              <a:gd name="T42" fmla="*/ 847238989 w 3580"/>
              <a:gd name="T43" fmla="*/ 847586626 h 3841"/>
              <a:gd name="T44" fmla="*/ 847238989 w 3580"/>
              <a:gd name="T45" fmla="*/ 847586626 h 3841"/>
              <a:gd name="T46" fmla="*/ 847238989 w 3580"/>
              <a:gd name="T47" fmla="*/ 847586626 h 3841"/>
              <a:gd name="T48" fmla="*/ 847238989 w 3580"/>
              <a:gd name="T49" fmla="*/ 847586626 h 3841"/>
              <a:gd name="T50" fmla="*/ 847238989 w 3580"/>
              <a:gd name="T51" fmla="*/ 847586626 h 3841"/>
              <a:gd name="T52" fmla="*/ 847238989 w 3580"/>
              <a:gd name="T53" fmla="*/ 847586626 h 3841"/>
              <a:gd name="T54" fmla="*/ 847238989 w 3580"/>
              <a:gd name="T55" fmla="*/ 847586626 h 3841"/>
              <a:gd name="T56" fmla="*/ 847238989 w 3580"/>
              <a:gd name="T57" fmla="*/ 847586626 h 3841"/>
              <a:gd name="T58" fmla="*/ 847238989 w 3580"/>
              <a:gd name="T59" fmla="*/ 847586626 h 3841"/>
              <a:gd name="T60" fmla="*/ 847238989 w 3580"/>
              <a:gd name="T61" fmla="*/ 847586626 h 3841"/>
              <a:gd name="T62" fmla="*/ 847238989 w 3580"/>
              <a:gd name="T63" fmla="*/ 847586626 h 3841"/>
              <a:gd name="T64" fmla="*/ 847238989 w 3580"/>
              <a:gd name="T65" fmla="*/ 847586626 h 3841"/>
              <a:gd name="T66" fmla="*/ 847238989 w 3580"/>
              <a:gd name="T67" fmla="*/ 847586626 h 3841"/>
              <a:gd name="T68" fmla="*/ 847238989 w 3580"/>
              <a:gd name="T69" fmla="*/ 847586626 h 3841"/>
              <a:gd name="T70" fmla="*/ 847238989 w 3580"/>
              <a:gd name="T71" fmla="*/ 847586626 h 3841"/>
              <a:gd name="T72" fmla="*/ 847238989 w 3580"/>
              <a:gd name="T73" fmla="*/ 847586626 h 3841"/>
              <a:gd name="T74" fmla="*/ 847238989 w 3580"/>
              <a:gd name="T75" fmla="*/ 847586626 h 3841"/>
              <a:gd name="T76" fmla="*/ 847238989 w 3580"/>
              <a:gd name="T77" fmla="*/ 847586626 h 3841"/>
              <a:gd name="T78" fmla="*/ 847238989 w 3580"/>
              <a:gd name="T79" fmla="*/ 847586626 h 3841"/>
              <a:gd name="T80" fmla="*/ 847238989 w 3580"/>
              <a:gd name="T81" fmla="*/ 847586626 h 3841"/>
              <a:gd name="T82" fmla="*/ 847238989 w 3580"/>
              <a:gd name="T83" fmla="*/ 847586626 h 3841"/>
              <a:gd name="T84" fmla="*/ 847238989 w 3580"/>
              <a:gd name="T85" fmla="*/ 847586626 h 3841"/>
              <a:gd name="T86" fmla="*/ 847238989 w 3580"/>
              <a:gd name="T87" fmla="*/ 847586626 h 3841"/>
              <a:gd name="T88" fmla="*/ 847238989 w 3580"/>
              <a:gd name="T89" fmla="*/ 847586626 h 3841"/>
              <a:gd name="T90" fmla="*/ 847238989 w 3580"/>
              <a:gd name="T91" fmla="*/ 847586626 h 3841"/>
              <a:gd name="T92" fmla="*/ 847238989 w 3580"/>
              <a:gd name="T93" fmla="*/ 847586626 h 3841"/>
              <a:gd name="T94" fmla="*/ 847238989 w 3580"/>
              <a:gd name="T95" fmla="*/ 847586626 h 3841"/>
              <a:gd name="T96" fmla="*/ 847238989 w 3580"/>
              <a:gd name="T97" fmla="*/ 847586626 h 3841"/>
              <a:gd name="T98" fmla="*/ 847238989 w 3580"/>
              <a:gd name="T99" fmla="*/ 847586626 h 3841"/>
              <a:gd name="T100" fmla="*/ 847238989 w 3580"/>
              <a:gd name="T101" fmla="*/ 847586626 h 3841"/>
              <a:gd name="T102" fmla="*/ 847238989 w 3580"/>
              <a:gd name="T103" fmla="*/ 847586626 h 3841"/>
              <a:gd name="T104" fmla="*/ 847238989 w 3580"/>
              <a:gd name="T105" fmla="*/ 847586626 h 3841"/>
              <a:gd name="T106" fmla="*/ 847238989 w 3580"/>
              <a:gd name="T107" fmla="*/ 847586626 h 3841"/>
              <a:gd name="T108" fmla="*/ 847238989 w 3580"/>
              <a:gd name="T109" fmla="*/ 847586626 h 3841"/>
              <a:gd name="T110" fmla="*/ 847238989 w 3580"/>
              <a:gd name="T111" fmla="*/ 847586626 h 3841"/>
              <a:gd name="T112" fmla="*/ 847238989 w 3580"/>
              <a:gd name="T113" fmla="*/ 847586626 h 3841"/>
              <a:gd name="T114" fmla="*/ 847238989 w 3580"/>
              <a:gd name="T115" fmla="*/ 847586626 h 3841"/>
              <a:gd name="T116" fmla="*/ 847238989 w 3580"/>
              <a:gd name="T117" fmla="*/ 847586626 h 3841"/>
              <a:gd name="T118" fmla="*/ 847238989 w 3580"/>
              <a:gd name="T119" fmla="*/ 847586626 h 3841"/>
              <a:gd name="T120" fmla="*/ 847238989 w 3580"/>
              <a:gd name="T121" fmla="*/ 847586626 h 3841"/>
              <a:gd name="T122" fmla="*/ 847238989 w 3580"/>
              <a:gd name="T123" fmla="*/ 847586626 h 3841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580" h="3841">
                <a:moveTo>
                  <a:pt x="3580" y="2640"/>
                </a:moveTo>
                <a:lnTo>
                  <a:pt x="3491" y="1718"/>
                </a:lnTo>
                <a:lnTo>
                  <a:pt x="2890" y="2323"/>
                </a:lnTo>
                <a:lnTo>
                  <a:pt x="2881" y="2251"/>
                </a:lnTo>
                <a:lnTo>
                  <a:pt x="2871" y="2180"/>
                </a:lnTo>
                <a:lnTo>
                  <a:pt x="2859" y="2110"/>
                </a:lnTo>
                <a:lnTo>
                  <a:pt x="2846" y="2042"/>
                </a:lnTo>
                <a:lnTo>
                  <a:pt x="2831" y="1974"/>
                </a:lnTo>
                <a:lnTo>
                  <a:pt x="2816" y="1908"/>
                </a:lnTo>
                <a:lnTo>
                  <a:pt x="2799" y="1844"/>
                </a:lnTo>
                <a:lnTo>
                  <a:pt x="2782" y="1780"/>
                </a:lnTo>
                <a:lnTo>
                  <a:pt x="2762" y="1718"/>
                </a:lnTo>
                <a:lnTo>
                  <a:pt x="2742" y="1657"/>
                </a:lnTo>
                <a:lnTo>
                  <a:pt x="2719" y="1597"/>
                </a:lnTo>
                <a:lnTo>
                  <a:pt x="2697" y="1539"/>
                </a:lnTo>
                <a:lnTo>
                  <a:pt x="2672" y="1480"/>
                </a:lnTo>
                <a:lnTo>
                  <a:pt x="2647" y="1424"/>
                </a:lnTo>
                <a:lnTo>
                  <a:pt x="2620" y="1369"/>
                </a:lnTo>
                <a:lnTo>
                  <a:pt x="2592" y="1314"/>
                </a:lnTo>
                <a:lnTo>
                  <a:pt x="2564" y="1262"/>
                </a:lnTo>
                <a:lnTo>
                  <a:pt x="2533" y="1210"/>
                </a:lnTo>
                <a:lnTo>
                  <a:pt x="2501" y="1160"/>
                </a:lnTo>
                <a:lnTo>
                  <a:pt x="2469" y="1110"/>
                </a:lnTo>
                <a:lnTo>
                  <a:pt x="2435" y="1062"/>
                </a:lnTo>
                <a:lnTo>
                  <a:pt x="2401" y="1014"/>
                </a:lnTo>
                <a:lnTo>
                  <a:pt x="2365" y="968"/>
                </a:lnTo>
                <a:lnTo>
                  <a:pt x="2327" y="924"/>
                </a:lnTo>
                <a:lnTo>
                  <a:pt x="2289" y="880"/>
                </a:lnTo>
                <a:lnTo>
                  <a:pt x="2249" y="838"/>
                </a:lnTo>
                <a:lnTo>
                  <a:pt x="2209" y="797"/>
                </a:lnTo>
                <a:lnTo>
                  <a:pt x="2167" y="756"/>
                </a:lnTo>
                <a:lnTo>
                  <a:pt x="2124" y="717"/>
                </a:lnTo>
                <a:lnTo>
                  <a:pt x="2081" y="678"/>
                </a:lnTo>
                <a:lnTo>
                  <a:pt x="2036" y="641"/>
                </a:lnTo>
                <a:lnTo>
                  <a:pt x="1990" y="605"/>
                </a:lnTo>
                <a:lnTo>
                  <a:pt x="1942" y="570"/>
                </a:lnTo>
                <a:lnTo>
                  <a:pt x="1894" y="536"/>
                </a:lnTo>
                <a:lnTo>
                  <a:pt x="1845" y="504"/>
                </a:lnTo>
                <a:lnTo>
                  <a:pt x="1794" y="472"/>
                </a:lnTo>
                <a:lnTo>
                  <a:pt x="1743" y="442"/>
                </a:lnTo>
                <a:lnTo>
                  <a:pt x="1691" y="412"/>
                </a:lnTo>
                <a:lnTo>
                  <a:pt x="1637" y="383"/>
                </a:lnTo>
                <a:lnTo>
                  <a:pt x="1584" y="356"/>
                </a:lnTo>
                <a:lnTo>
                  <a:pt x="1528" y="330"/>
                </a:lnTo>
                <a:lnTo>
                  <a:pt x="1472" y="304"/>
                </a:lnTo>
                <a:lnTo>
                  <a:pt x="1415" y="280"/>
                </a:lnTo>
                <a:lnTo>
                  <a:pt x="1356" y="256"/>
                </a:lnTo>
                <a:lnTo>
                  <a:pt x="1298" y="234"/>
                </a:lnTo>
                <a:lnTo>
                  <a:pt x="1236" y="213"/>
                </a:lnTo>
                <a:lnTo>
                  <a:pt x="1175" y="193"/>
                </a:lnTo>
                <a:lnTo>
                  <a:pt x="1114" y="173"/>
                </a:lnTo>
                <a:lnTo>
                  <a:pt x="1051" y="155"/>
                </a:lnTo>
                <a:lnTo>
                  <a:pt x="987" y="138"/>
                </a:lnTo>
                <a:lnTo>
                  <a:pt x="923" y="122"/>
                </a:lnTo>
                <a:lnTo>
                  <a:pt x="857" y="107"/>
                </a:lnTo>
                <a:lnTo>
                  <a:pt x="790" y="92"/>
                </a:lnTo>
                <a:lnTo>
                  <a:pt x="722" y="78"/>
                </a:lnTo>
                <a:lnTo>
                  <a:pt x="654" y="67"/>
                </a:lnTo>
                <a:lnTo>
                  <a:pt x="584" y="56"/>
                </a:lnTo>
                <a:lnTo>
                  <a:pt x="514" y="45"/>
                </a:lnTo>
                <a:lnTo>
                  <a:pt x="443" y="36"/>
                </a:lnTo>
                <a:lnTo>
                  <a:pt x="371" y="27"/>
                </a:lnTo>
                <a:lnTo>
                  <a:pt x="299" y="20"/>
                </a:lnTo>
                <a:lnTo>
                  <a:pt x="226" y="14"/>
                </a:lnTo>
                <a:lnTo>
                  <a:pt x="151" y="7"/>
                </a:lnTo>
                <a:lnTo>
                  <a:pt x="76" y="4"/>
                </a:lnTo>
                <a:lnTo>
                  <a:pt x="0" y="0"/>
                </a:lnTo>
                <a:lnTo>
                  <a:pt x="99" y="58"/>
                </a:lnTo>
                <a:lnTo>
                  <a:pt x="194" y="118"/>
                </a:lnTo>
                <a:lnTo>
                  <a:pt x="288" y="180"/>
                </a:lnTo>
                <a:lnTo>
                  <a:pt x="377" y="243"/>
                </a:lnTo>
                <a:lnTo>
                  <a:pt x="466" y="305"/>
                </a:lnTo>
                <a:lnTo>
                  <a:pt x="550" y="370"/>
                </a:lnTo>
                <a:lnTo>
                  <a:pt x="633" y="434"/>
                </a:lnTo>
                <a:lnTo>
                  <a:pt x="712" y="502"/>
                </a:lnTo>
                <a:lnTo>
                  <a:pt x="788" y="569"/>
                </a:lnTo>
                <a:lnTo>
                  <a:pt x="862" y="636"/>
                </a:lnTo>
                <a:lnTo>
                  <a:pt x="933" y="706"/>
                </a:lnTo>
                <a:lnTo>
                  <a:pt x="1000" y="777"/>
                </a:lnTo>
                <a:lnTo>
                  <a:pt x="1065" y="848"/>
                </a:lnTo>
                <a:lnTo>
                  <a:pt x="1096" y="884"/>
                </a:lnTo>
                <a:lnTo>
                  <a:pt x="1126" y="920"/>
                </a:lnTo>
                <a:lnTo>
                  <a:pt x="1156" y="957"/>
                </a:lnTo>
                <a:lnTo>
                  <a:pt x="1184" y="993"/>
                </a:lnTo>
                <a:lnTo>
                  <a:pt x="1213" y="1031"/>
                </a:lnTo>
                <a:lnTo>
                  <a:pt x="1240" y="1068"/>
                </a:lnTo>
                <a:lnTo>
                  <a:pt x="1266" y="1105"/>
                </a:lnTo>
                <a:lnTo>
                  <a:pt x="1293" y="1144"/>
                </a:lnTo>
                <a:lnTo>
                  <a:pt x="1317" y="1181"/>
                </a:lnTo>
                <a:lnTo>
                  <a:pt x="1341" y="1220"/>
                </a:lnTo>
                <a:lnTo>
                  <a:pt x="1365" y="1258"/>
                </a:lnTo>
                <a:lnTo>
                  <a:pt x="1387" y="1298"/>
                </a:lnTo>
                <a:lnTo>
                  <a:pt x="1408" y="1337"/>
                </a:lnTo>
                <a:lnTo>
                  <a:pt x="1429" y="1377"/>
                </a:lnTo>
                <a:lnTo>
                  <a:pt x="1449" y="1417"/>
                </a:lnTo>
                <a:lnTo>
                  <a:pt x="1468" y="1456"/>
                </a:lnTo>
                <a:lnTo>
                  <a:pt x="1487" y="1496"/>
                </a:lnTo>
                <a:lnTo>
                  <a:pt x="1504" y="1537"/>
                </a:lnTo>
                <a:lnTo>
                  <a:pt x="1522" y="1577"/>
                </a:lnTo>
                <a:lnTo>
                  <a:pt x="1538" y="1618"/>
                </a:lnTo>
                <a:lnTo>
                  <a:pt x="1553" y="1659"/>
                </a:lnTo>
                <a:lnTo>
                  <a:pt x="1566" y="1702"/>
                </a:lnTo>
                <a:lnTo>
                  <a:pt x="1580" y="1743"/>
                </a:lnTo>
                <a:lnTo>
                  <a:pt x="1593" y="1785"/>
                </a:lnTo>
                <a:lnTo>
                  <a:pt x="1604" y="1827"/>
                </a:lnTo>
                <a:lnTo>
                  <a:pt x="1615" y="1870"/>
                </a:lnTo>
                <a:lnTo>
                  <a:pt x="1625" y="1913"/>
                </a:lnTo>
                <a:lnTo>
                  <a:pt x="1634" y="1956"/>
                </a:lnTo>
                <a:lnTo>
                  <a:pt x="1642" y="1999"/>
                </a:lnTo>
                <a:lnTo>
                  <a:pt x="1650" y="2043"/>
                </a:lnTo>
                <a:lnTo>
                  <a:pt x="1656" y="2088"/>
                </a:lnTo>
                <a:lnTo>
                  <a:pt x="1661" y="2131"/>
                </a:lnTo>
                <a:lnTo>
                  <a:pt x="1666" y="2176"/>
                </a:lnTo>
                <a:lnTo>
                  <a:pt x="1670" y="2221"/>
                </a:lnTo>
                <a:lnTo>
                  <a:pt x="1672" y="2266"/>
                </a:lnTo>
                <a:lnTo>
                  <a:pt x="1675" y="2310"/>
                </a:lnTo>
                <a:lnTo>
                  <a:pt x="1675" y="2357"/>
                </a:lnTo>
                <a:lnTo>
                  <a:pt x="1676" y="2401"/>
                </a:lnTo>
                <a:lnTo>
                  <a:pt x="1017" y="1953"/>
                </a:lnTo>
                <a:lnTo>
                  <a:pt x="1106" y="2876"/>
                </a:lnTo>
                <a:lnTo>
                  <a:pt x="2445" y="3841"/>
                </a:lnTo>
                <a:lnTo>
                  <a:pt x="3580" y="2640"/>
                </a:lnTo>
                <a:close/>
              </a:path>
            </a:pathLst>
          </a:custGeom>
          <a:solidFill>
            <a:srgbClr val="C00000"/>
          </a:solidFill>
          <a:ln w="38100">
            <a:solidFill>
              <a:schemeClr val="bg1"/>
            </a:solidFill>
          </a:ln>
          <a:extLst/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3" name="圖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480" y="3429000"/>
            <a:ext cx="3545573" cy="1400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232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b="1" dirty="0" smtClean="0">
                <a:solidFill>
                  <a:srgbClr val="0E457D"/>
                </a:solidFill>
              </a:rPr>
              <a:t>課程規範 </a:t>
            </a:r>
            <a:r>
              <a:rPr lang="en-US" altLang="zh-TW" b="1" dirty="0" smtClean="0">
                <a:solidFill>
                  <a:srgbClr val="0E457D"/>
                </a:solidFill>
              </a:rPr>
              <a:t>(1/2)</a:t>
            </a:r>
            <a:endParaRPr lang="zh-TW" altLang="en-US" b="1" dirty="0">
              <a:solidFill>
                <a:srgbClr val="0E457D"/>
              </a:solidFill>
            </a:endParaRP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0" name="文本框 52"/>
          <p:cNvSpPr txBox="1"/>
          <p:nvPr/>
        </p:nvSpPr>
        <p:spPr>
          <a:xfrm>
            <a:off x="1775520" y="1844824"/>
            <a:ext cx="9846537" cy="1323278"/>
          </a:xfrm>
          <a:prstGeom prst="rect">
            <a:avLst/>
          </a:prstGeom>
          <a:noFill/>
        </p:spPr>
        <p:txBody>
          <a:bodyPr wrap="square" lIns="91294" tIns="45640" rIns="91294" bIns="45640" rtlCol="0">
            <a:spAutoFit/>
          </a:bodyPr>
          <a:lstStyle/>
          <a:p>
            <a:pPr marL="357188" lvl="0" indent="-265113" defTabSz="914173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zh-TW" altLang="en-US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上課前</a:t>
            </a:r>
            <a:r>
              <a:rPr kumimoji="0" lang="en-US" altLang="zh-TW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5</a:t>
            </a:r>
            <a:r>
              <a:rPr kumimoji="0" lang="zh-TW" altLang="en-US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分鐘開放連結，開始上課時點名未到者以遲到計</a:t>
            </a:r>
            <a:r>
              <a:rPr kumimoji="0" lang="en-US" altLang="zh-TW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(</a:t>
            </a:r>
            <a:r>
              <a:rPr kumimoji="0" lang="zh-TW" altLang="en-US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開視訊證明</a:t>
            </a:r>
            <a:r>
              <a:rPr kumimoji="0" lang="en-US" altLang="zh-TW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)</a:t>
            </a:r>
            <a:r>
              <a:rPr kumimoji="0" lang="zh-TW" altLang="en-US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：總成績</a:t>
            </a:r>
            <a:r>
              <a:rPr kumimoji="0" lang="en-US" altLang="zh-TW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-1</a:t>
            </a:r>
            <a:r>
              <a:rPr kumimoji="0" lang="zh-TW" altLang="en-US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分。 </a:t>
            </a:r>
          </a:p>
          <a:p>
            <a:pPr marL="357188" lvl="0" indent="-265113" defTabSz="914173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zh-TW" altLang="en-US" sz="2000" kern="0" dirty="0" smtClean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開始</a:t>
            </a:r>
            <a:r>
              <a:rPr kumimoji="0" lang="zh-TW" altLang="en-US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上課後</a:t>
            </a:r>
            <a:r>
              <a:rPr kumimoji="0" lang="en-US" altLang="zh-TW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30</a:t>
            </a:r>
            <a:r>
              <a:rPr kumimoji="0" lang="zh-TW" altLang="en-US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分未到者以曠課計：總成績</a:t>
            </a:r>
            <a:r>
              <a:rPr kumimoji="0" lang="en-US" altLang="zh-TW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-2</a:t>
            </a:r>
            <a:r>
              <a:rPr kumimoji="0" lang="zh-TW" altLang="en-US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分，且當次作業成績以</a:t>
            </a:r>
            <a:r>
              <a:rPr kumimoji="0" lang="en-US" altLang="zh-TW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0</a:t>
            </a:r>
            <a:r>
              <a:rPr kumimoji="0" lang="zh-TW" altLang="en-US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分計算。</a:t>
            </a:r>
          </a:p>
          <a:p>
            <a:pPr marL="357188" lvl="0" indent="-265113" defTabSz="914173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zh-TW" altLang="en-US" sz="2000" kern="0" dirty="0" smtClean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點名</a:t>
            </a:r>
            <a:r>
              <a:rPr kumimoji="0" lang="zh-TW" altLang="en-US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時人一定要在現場，不在位上以遲到</a:t>
            </a:r>
            <a:r>
              <a:rPr kumimoji="0" lang="en-US" altLang="zh-TW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/</a:t>
            </a:r>
            <a:r>
              <a:rPr kumimoji="0" lang="zh-TW" altLang="en-US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曠課論，如有要事暫時離開請先告知助教。</a:t>
            </a:r>
          </a:p>
          <a:p>
            <a:pPr marL="357188" lvl="0" indent="-265113" defTabSz="914173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kumimoji="0" lang="zh-TW" altLang="en-US" sz="2000" kern="0" dirty="0" smtClean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超過</a:t>
            </a:r>
            <a:r>
              <a:rPr kumimoji="0" lang="en-US" altLang="zh-TW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3</a:t>
            </a:r>
            <a:r>
              <a:rPr kumimoji="0" lang="zh-TW" altLang="en-US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次</a:t>
            </a:r>
            <a:r>
              <a:rPr kumimoji="0" lang="en-US" altLang="zh-TW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(</a:t>
            </a:r>
            <a:r>
              <a:rPr kumimoji="0" lang="zh-TW" altLang="en-US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含</a:t>
            </a:r>
            <a:r>
              <a:rPr kumimoji="0" lang="en-US" altLang="zh-TW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)</a:t>
            </a:r>
            <a:r>
              <a:rPr kumimoji="0" lang="zh-TW" altLang="en-US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曠課者，期末總成績不及格。</a:t>
            </a:r>
          </a:p>
        </p:txBody>
      </p:sp>
      <p:sp>
        <p:nvSpPr>
          <p:cNvPr id="21" name="矩形 20"/>
          <p:cNvSpPr/>
          <p:nvPr/>
        </p:nvSpPr>
        <p:spPr>
          <a:xfrm>
            <a:off x="782376" y="1603422"/>
            <a:ext cx="1210293" cy="399948"/>
          </a:xfrm>
          <a:prstGeom prst="rect">
            <a:avLst/>
          </a:prstGeom>
          <a:effectLst/>
        </p:spPr>
        <p:txBody>
          <a:bodyPr wrap="none" lIns="91294" tIns="45640" rIns="91294" bIns="45640">
            <a:spAutoFit/>
          </a:bodyPr>
          <a:lstStyle/>
          <a:p>
            <a:pPr marL="0" marR="0" lvl="0" indent="0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出勤規則</a:t>
            </a:r>
            <a:endParaRPr kumimoji="0" lang="zh-CN" altLang="en-US" sz="2000" b="0" i="0" u="none" strike="noStrike" kern="0" cap="none" spc="0" normalizeH="0" baseline="0" noProof="0" dirty="0">
              <a:ln>
                <a:noFill/>
              </a:ln>
              <a:solidFill>
                <a:srgbClr val="0E457D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2" name="文本框 56"/>
          <p:cNvSpPr txBox="1"/>
          <p:nvPr/>
        </p:nvSpPr>
        <p:spPr>
          <a:xfrm>
            <a:off x="1775520" y="3823796"/>
            <a:ext cx="9846537" cy="707725"/>
          </a:xfrm>
          <a:prstGeom prst="rect">
            <a:avLst/>
          </a:prstGeom>
          <a:noFill/>
        </p:spPr>
        <p:txBody>
          <a:bodyPr wrap="square" lIns="91294" tIns="45640" rIns="91294" bIns="45640" rtlCol="0">
            <a:spAutoFit/>
          </a:bodyPr>
          <a:lstStyle/>
          <a:p>
            <a:pPr marL="357188" marR="0" lvl="0" indent="-265113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TW" alt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公</a:t>
            </a:r>
            <a:r>
              <a:rPr kumimoji="0" lang="en-US" altLang="zh-TW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/</a:t>
            </a:r>
            <a:r>
              <a:rPr kumimoji="0" lang="zh-TW" alt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事假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須在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3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天前到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Portal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辦理網路請假，未請假者以曠課計</a:t>
            </a:r>
            <a:r>
              <a:rPr kumimoji="0" lang="zh-CN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。</a:t>
            </a:r>
            <a:endParaRPr kumimoji="0" lang="en-US" altLang="zh-CN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  <a:p>
            <a:pPr marL="357188" marR="0" lvl="0" indent="-265113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病假請在下次上課前將病假證明送至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70639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給助教，未提供者以曠課計。</a:t>
            </a:r>
            <a:endParaRPr kumimoji="0" lang="en-US" altLang="zh-TW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782376" y="3433975"/>
            <a:ext cx="1210293" cy="399948"/>
          </a:xfrm>
          <a:prstGeom prst="rect">
            <a:avLst/>
          </a:prstGeom>
          <a:effectLst/>
        </p:spPr>
        <p:txBody>
          <a:bodyPr wrap="none" lIns="91294" tIns="45640" rIns="91294" bIns="45640">
            <a:spAutoFit/>
          </a:bodyPr>
          <a:lstStyle/>
          <a:p>
            <a:pPr marL="0" marR="0" lvl="0" indent="0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請假規則</a:t>
            </a:r>
            <a:endParaRPr kumimoji="0" lang="zh-CN" altLang="en-US" sz="2000" b="0" i="0" u="none" strike="noStrike" kern="0" cap="none" spc="0" normalizeH="0" baseline="0" noProof="0" dirty="0">
              <a:ln>
                <a:noFill/>
              </a:ln>
              <a:solidFill>
                <a:srgbClr val="0E457D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4" name="文本框 59"/>
          <p:cNvSpPr txBox="1"/>
          <p:nvPr/>
        </p:nvSpPr>
        <p:spPr>
          <a:xfrm>
            <a:off x="1775520" y="5373216"/>
            <a:ext cx="9846537" cy="707725"/>
          </a:xfrm>
          <a:prstGeom prst="rect">
            <a:avLst/>
          </a:prstGeom>
          <a:noFill/>
        </p:spPr>
        <p:txBody>
          <a:bodyPr wrap="square" lIns="91294" tIns="45640" rIns="91294" bIns="45640" rtlCol="0">
            <a:spAutoFit/>
          </a:bodyPr>
          <a:lstStyle/>
          <a:p>
            <a:pPr marL="357188" marR="0" lvl="0" indent="-265113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TW" alt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作業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請於課程結束當日上傳至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Portal</a:t>
            </a:r>
            <a:r>
              <a:rPr kumimoji="0" lang="zh-TW" alt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，逾時繳交以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0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分計算</a:t>
            </a:r>
            <a:r>
              <a:rPr kumimoji="0" lang="zh-TW" alt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，請假者請參照補交規定。</a:t>
            </a:r>
            <a:endParaRPr kumimoji="0" lang="en-US" altLang="zh-TW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  <a:p>
            <a:pPr marL="357188" marR="0" lvl="0" indent="-265113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作業、專題抄襲者以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0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分計算</a:t>
            </a:r>
            <a:r>
              <a:rPr kumimoji="0" lang="zh-TW" alt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。</a:t>
            </a:r>
            <a:endParaRPr kumimoji="0" lang="en-US" altLang="zh-TW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782376" y="4914043"/>
            <a:ext cx="1723254" cy="399948"/>
          </a:xfrm>
          <a:prstGeom prst="rect">
            <a:avLst/>
          </a:prstGeom>
          <a:effectLst/>
        </p:spPr>
        <p:txBody>
          <a:bodyPr wrap="none" lIns="91294" tIns="45640" rIns="91294" bIns="45640">
            <a:spAutoFit/>
          </a:bodyPr>
          <a:lstStyle/>
          <a:p>
            <a:pPr marL="0" marR="0" lvl="0" indent="0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作業</a:t>
            </a:r>
            <a:r>
              <a:rPr kumimoji="0" lang="zh-TW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繳交</a:t>
            </a:r>
            <a:r>
              <a:rPr kumimoji="0" lang="zh-TW" alt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規定</a:t>
            </a:r>
            <a:endParaRPr kumimoji="0" lang="zh-CN" altLang="en-US" sz="2000" b="0" i="0" u="none" strike="noStrike" kern="0" cap="none" spc="0" normalizeH="0" baseline="0" noProof="0" dirty="0">
              <a:ln>
                <a:noFill/>
              </a:ln>
              <a:solidFill>
                <a:srgbClr val="0E457D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</p:txBody>
      </p:sp>
      <p:grpSp>
        <p:nvGrpSpPr>
          <p:cNvPr id="6" name="群組 5"/>
          <p:cNvGrpSpPr/>
          <p:nvPr/>
        </p:nvGrpSpPr>
        <p:grpSpPr>
          <a:xfrm>
            <a:off x="1019361" y="2222679"/>
            <a:ext cx="684151" cy="603132"/>
            <a:chOff x="866568" y="1806294"/>
            <a:chExt cx="684151" cy="603132"/>
          </a:xfrm>
        </p:grpSpPr>
        <p:sp>
          <p:nvSpPr>
            <p:cNvPr id="15" name="圆角矩形 50"/>
            <p:cNvSpPr/>
            <p:nvPr/>
          </p:nvSpPr>
          <p:spPr>
            <a:xfrm>
              <a:off x="866568" y="1806294"/>
              <a:ext cx="684151" cy="603132"/>
            </a:xfrm>
            <a:prstGeom prst="roundRect">
              <a:avLst/>
            </a:prstGeom>
            <a:gradFill flip="none" rotWithShape="1">
              <a:gsLst>
                <a:gs pos="0">
                  <a:srgbClr val="A5A5A5">
                    <a:lumMod val="5000"/>
                    <a:lumOff val="95000"/>
                  </a:srgbClr>
                </a:gs>
                <a:gs pos="74000">
                  <a:srgbClr val="A5A5A5">
                    <a:lumMod val="45000"/>
                    <a:lumOff val="55000"/>
                  </a:srgbClr>
                </a:gs>
                <a:gs pos="83000">
                  <a:srgbClr val="A5A5A5">
                    <a:lumMod val="45000"/>
                    <a:lumOff val="55000"/>
                  </a:srgbClr>
                </a:gs>
                <a:gs pos="100000">
                  <a:srgbClr val="A5A5A5">
                    <a:lumMod val="30000"/>
                    <a:lumOff val="70000"/>
                  </a:srgbClr>
                </a:gs>
              </a:gsLst>
              <a:lin ang="18900000" scaled="1"/>
              <a:tileRect/>
            </a:gradFill>
            <a:ln w="12700" cap="flat" cmpd="sng" algn="ctr">
              <a:gradFill flip="none" rotWithShape="1">
                <a:gsLst>
                  <a:gs pos="0">
                    <a:srgbClr val="A5A5A5">
                      <a:lumMod val="5000"/>
                      <a:lumOff val="95000"/>
                    </a:srgbClr>
                  </a:gs>
                  <a:gs pos="74000">
                    <a:srgbClr val="A5A5A5">
                      <a:lumMod val="45000"/>
                      <a:lumOff val="55000"/>
                    </a:srgbClr>
                  </a:gs>
                  <a:gs pos="83000">
                    <a:srgbClr val="A5A5A5">
                      <a:lumMod val="45000"/>
                      <a:lumOff val="55000"/>
                    </a:srgbClr>
                  </a:gs>
                  <a:gs pos="100000">
                    <a:srgbClr val="A5A5A5">
                      <a:lumMod val="30000"/>
                      <a:lumOff val="70000"/>
                    </a:srgbClr>
                  </a:gs>
                </a:gsLst>
                <a:lin ang="8100000" scaled="1"/>
                <a:tileRect/>
              </a:gradFill>
              <a:prstDash val="solid"/>
              <a:miter lim="800000"/>
            </a:ln>
            <a:effectLst>
              <a:outerShdw blurRad="127000" dist="50800" dir="8100000" algn="tr" rotWithShape="0">
                <a:sysClr val="window" lastClr="FFFFFF">
                  <a:lumMod val="50000"/>
                  <a:alpha val="40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914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29" name="Freeform 312"/>
            <p:cNvSpPr/>
            <p:nvPr/>
          </p:nvSpPr>
          <p:spPr>
            <a:xfrm>
              <a:off x="992289" y="1891617"/>
              <a:ext cx="432708" cy="432486"/>
            </a:xfrm>
            <a:custGeom>
              <a:avLst/>
              <a:gdLst>
                <a:gd name="connsiteX0" fmla="*/ 225369 w 432708"/>
                <a:gd name="connsiteY0" fmla="*/ 108177 h 432707"/>
                <a:gd name="connsiteX1" fmla="*/ 243399 w 432708"/>
                <a:gd name="connsiteY1" fmla="*/ 108177 h 432707"/>
                <a:gd name="connsiteX2" fmla="*/ 249878 w 432708"/>
                <a:gd name="connsiteY2" fmla="*/ 110712 h 432707"/>
                <a:gd name="connsiteX3" fmla="*/ 252414 w 432708"/>
                <a:gd name="connsiteY3" fmla="*/ 117191 h 432707"/>
                <a:gd name="connsiteX4" fmla="*/ 252414 w 432708"/>
                <a:gd name="connsiteY4" fmla="*/ 243398 h 432707"/>
                <a:gd name="connsiteX5" fmla="*/ 249878 w 432708"/>
                <a:gd name="connsiteY5" fmla="*/ 249877 h 432707"/>
                <a:gd name="connsiteX6" fmla="*/ 243399 w 432708"/>
                <a:gd name="connsiteY6" fmla="*/ 252412 h 432707"/>
                <a:gd name="connsiteX7" fmla="*/ 153252 w 432708"/>
                <a:gd name="connsiteY7" fmla="*/ 252412 h 432707"/>
                <a:gd name="connsiteX8" fmla="*/ 146772 w 432708"/>
                <a:gd name="connsiteY8" fmla="*/ 249877 h 432707"/>
                <a:gd name="connsiteX9" fmla="*/ 144237 w 432708"/>
                <a:gd name="connsiteY9" fmla="*/ 243398 h 432707"/>
                <a:gd name="connsiteX10" fmla="*/ 144237 w 432708"/>
                <a:gd name="connsiteY10" fmla="*/ 225368 h 432707"/>
                <a:gd name="connsiteX11" fmla="*/ 146772 w 432708"/>
                <a:gd name="connsiteY11" fmla="*/ 218889 h 432707"/>
                <a:gd name="connsiteX12" fmla="*/ 153252 w 432708"/>
                <a:gd name="connsiteY12" fmla="*/ 216354 h 432707"/>
                <a:gd name="connsiteX13" fmla="*/ 216355 w 432708"/>
                <a:gd name="connsiteY13" fmla="*/ 216354 h 432707"/>
                <a:gd name="connsiteX14" fmla="*/ 216355 w 432708"/>
                <a:gd name="connsiteY14" fmla="*/ 117191 h 432707"/>
                <a:gd name="connsiteX15" fmla="*/ 218890 w 432708"/>
                <a:gd name="connsiteY15" fmla="*/ 110712 h 432707"/>
                <a:gd name="connsiteX16" fmla="*/ 225369 w 432708"/>
                <a:gd name="connsiteY16" fmla="*/ 108177 h 432707"/>
                <a:gd name="connsiteX17" fmla="*/ 216354 w 432708"/>
                <a:gd name="connsiteY17" fmla="*/ 63103 h 432707"/>
                <a:gd name="connsiteX18" fmla="*/ 139447 w 432708"/>
                <a:gd name="connsiteY18" fmla="*/ 83668 h 432707"/>
                <a:gd name="connsiteX19" fmla="*/ 83668 w 432708"/>
                <a:gd name="connsiteY19" fmla="*/ 139447 h 432707"/>
                <a:gd name="connsiteX20" fmla="*/ 63103 w 432708"/>
                <a:gd name="connsiteY20" fmla="*/ 216354 h 432707"/>
                <a:gd name="connsiteX21" fmla="*/ 83668 w 432708"/>
                <a:gd name="connsiteY21" fmla="*/ 293260 h 432707"/>
                <a:gd name="connsiteX22" fmla="*/ 139447 w 432708"/>
                <a:gd name="connsiteY22" fmla="*/ 349039 h 432707"/>
                <a:gd name="connsiteX23" fmla="*/ 216354 w 432708"/>
                <a:gd name="connsiteY23" fmla="*/ 369604 h 432707"/>
                <a:gd name="connsiteX24" fmla="*/ 293261 w 432708"/>
                <a:gd name="connsiteY24" fmla="*/ 349039 h 432707"/>
                <a:gd name="connsiteX25" fmla="*/ 349039 w 432708"/>
                <a:gd name="connsiteY25" fmla="*/ 293260 h 432707"/>
                <a:gd name="connsiteX26" fmla="*/ 369604 w 432708"/>
                <a:gd name="connsiteY26" fmla="*/ 216354 h 432707"/>
                <a:gd name="connsiteX27" fmla="*/ 349039 w 432708"/>
                <a:gd name="connsiteY27" fmla="*/ 139447 h 432707"/>
                <a:gd name="connsiteX28" fmla="*/ 293261 w 432708"/>
                <a:gd name="connsiteY28" fmla="*/ 83668 h 432707"/>
                <a:gd name="connsiteX29" fmla="*/ 216354 w 432708"/>
                <a:gd name="connsiteY29" fmla="*/ 63103 h 432707"/>
                <a:gd name="connsiteX30" fmla="*/ 216354 w 432708"/>
                <a:gd name="connsiteY30" fmla="*/ 0 h 432707"/>
                <a:gd name="connsiteX31" fmla="*/ 324953 w 432708"/>
                <a:gd name="connsiteY31" fmla="*/ 29016 h 432707"/>
                <a:gd name="connsiteX32" fmla="*/ 403692 w 432708"/>
                <a:gd name="connsiteY32" fmla="*/ 107754 h 432707"/>
                <a:gd name="connsiteX33" fmla="*/ 432708 w 432708"/>
                <a:gd name="connsiteY33" fmla="*/ 216354 h 432707"/>
                <a:gd name="connsiteX34" fmla="*/ 403692 w 432708"/>
                <a:gd name="connsiteY34" fmla="*/ 324953 h 432707"/>
                <a:gd name="connsiteX35" fmla="*/ 324953 w 432708"/>
                <a:gd name="connsiteY35" fmla="*/ 403691 h 432707"/>
                <a:gd name="connsiteX36" fmla="*/ 216354 w 432708"/>
                <a:gd name="connsiteY36" fmla="*/ 432707 h 432707"/>
                <a:gd name="connsiteX37" fmla="*/ 107755 w 432708"/>
                <a:gd name="connsiteY37" fmla="*/ 403691 h 432707"/>
                <a:gd name="connsiteX38" fmla="*/ 29016 w 432708"/>
                <a:gd name="connsiteY38" fmla="*/ 324953 h 432707"/>
                <a:gd name="connsiteX39" fmla="*/ 0 w 432708"/>
                <a:gd name="connsiteY39" fmla="*/ 216354 h 432707"/>
                <a:gd name="connsiteX40" fmla="*/ 29016 w 432708"/>
                <a:gd name="connsiteY40" fmla="*/ 107754 h 432707"/>
                <a:gd name="connsiteX41" fmla="*/ 107755 w 432708"/>
                <a:gd name="connsiteY41" fmla="*/ 29016 h 432707"/>
                <a:gd name="connsiteX42" fmla="*/ 216354 w 432708"/>
                <a:gd name="connsiteY42" fmla="*/ 0 h 43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432708" h="432707">
                  <a:moveTo>
                    <a:pt x="225369" y="108177"/>
                  </a:moveTo>
                  <a:lnTo>
                    <a:pt x="243399" y="108177"/>
                  </a:lnTo>
                  <a:cubicBezTo>
                    <a:pt x="246028" y="108177"/>
                    <a:pt x="248188" y="109022"/>
                    <a:pt x="249878" y="110712"/>
                  </a:cubicBezTo>
                  <a:cubicBezTo>
                    <a:pt x="251568" y="112402"/>
                    <a:pt x="252414" y="114562"/>
                    <a:pt x="252414" y="117191"/>
                  </a:cubicBezTo>
                  <a:lnTo>
                    <a:pt x="252414" y="243398"/>
                  </a:lnTo>
                  <a:cubicBezTo>
                    <a:pt x="252414" y="246027"/>
                    <a:pt x="251568" y="248187"/>
                    <a:pt x="249878" y="249877"/>
                  </a:cubicBezTo>
                  <a:cubicBezTo>
                    <a:pt x="248188" y="251567"/>
                    <a:pt x="246028" y="252412"/>
                    <a:pt x="243399" y="252412"/>
                  </a:cubicBezTo>
                  <a:lnTo>
                    <a:pt x="153252" y="252412"/>
                  </a:lnTo>
                  <a:cubicBezTo>
                    <a:pt x="150623" y="252412"/>
                    <a:pt x="148462" y="251567"/>
                    <a:pt x="146772" y="249877"/>
                  </a:cubicBezTo>
                  <a:cubicBezTo>
                    <a:pt x="145082" y="248187"/>
                    <a:pt x="144237" y="246027"/>
                    <a:pt x="144237" y="243398"/>
                  </a:cubicBezTo>
                  <a:lnTo>
                    <a:pt x="144237" y="225368"/>
                  </a:lnTo>
                  <a:cubicBezTo>
                    <a:pt x="144237" y="222739"/>
                    <a:pt x="145082" y="220579"/>
                    <a:pt x="146772" y="218889"/>
                  </a:cubicBezTo>
                  <a:cubicBezTo>
                    <a:pt x="148462" y="217199"/>
                    <a:pt x="150623" y="216354"/>
                    <a:pt x="153252" y="216354"/>
                  </a:cubicBezTo>
                  <a:lnTo>
                    <a:pt x="216355" y="216354"/>
                  </a:lnTo>
                  <a:lnTo>
                    <a:pt x="216355" y="117191"/>
                  </a:lnTo>
                  <a:cubicBezTo>
                    <a:pt x="216355" y="114562"/>
                    <a:pt x="217200" y="112402"/>
                    <a:pt x="218890" y="110712"/>
                  </a:cubicBezTo>
                  <a:cubicBezTo>
                    <a:pt x="220581" y="109022"/>
                    <a:pt x="222740" y="108177"/>
                    <a:pt x="225369" y="108177"/>
                  </a:cubicBezTo>
                  <a:close/>
                  <a:moveTo>
                    <a:pt x="216354" y="63103"/>
                  </a:moveTo>
                  <a:cubicBezTo>
                    <a:pt x="188558" y="63103"/>
                    <a:pt x="162923" y="69958"/>
                    <a:pt x="139447" y="83668"/>
                  </a:cubicBezTo>
                  <a:cubicBezTo>
                    <a:pt x="115971" y="97378"/>
                    <a:pt x="97378" y="115971"/>
                    <a:pt x="83668" y="139447"/>
                  </a:cubicBezTo>
                  <a:cubicBezTo>
                    <a:pt x="69958" y="162922"/>
                    <a:pt x="63103" y="188558"/>
                    <a:pt x="63103" y="216354"/>
                  </a:cubicBezTo>
                  <a:cubicBezTo>
                    <a:pt x="63103" y="244149"/>
                    <a:pt x="69958" y="269785"/>
                    <a:pt x="83668" y="293260"/>
                  </a:cubicBezTo>
                  <a:cubicBezTo>
                    <a:pt x="97378" y="316736"/>
                    <a:pt x="115971" y="335329"/>
                    <a:pt x="139447" y="349039"/>
                  </a:cubicBezTo>
                  <a:cubicBezTo>
                    <a:pt x="162923" y="362749"/>
                    <a:pt x="188558" y="369604"/>
                    <a:pt x="216354" y="369604"/>
                  </a:cubicBezTo>
                  <a:cubicBezTo>
                    <a:pt x="244150" y="369604"/>
                    <a:pt x="269785" y="362749"/>
                    <a:pt x="293261" y="349039"/>
                  </a:cubicBezTo>
                  <a:cubicBezTo>
                    <a:pt x="316737" y="335329"/>
                    <a:pt x="335330" y="316736"/>
                    <a:pt x="349039" y="293260"/>
                  </a:cubicBezTo>
                  <a:cubicBezTo>
                    <a:pt x="362750" y="269785"/>
                    <a:pt x="369604" y="244149"/>
                    <a:pt x="369604" y="216354"/>
                  </a:cubicBezTo>
                  <a:cubicBezTo>
                    <a:pt x="369604" y="188558"/>
                    <a:pt x="362750" y="162922"/>
                    <a:pt x="349039" y="139447"/>
                  </a:cubicBezTo>
                  <a:cubicBezTo>
                    <a:pt x="335330" y="115971"/>
                    <a:pt x="316737" y="97378"/>
                    <a:pt x="293261" y="83668"/>
                  </a:cubicBezTo>
                  <a:cubicBezTo>
                    <a:pt x="269785" y="69958"/>
                    <a:pt x="244150" y="63103"/>
                    <a:pt x="216354" y="63103"/>
                  </a:cubicBezTo>
                  <a:close/>
                  <a:moveTo>
                    <a:pt x="216354" y="0"/>
                  </a:moveTo>
                  <a:cubicBezTo>
                    <a:pt x="255606" y="0"/>
                    <a:pt x="291806" y="9672"/>
                    <a:pt x="324953" y="29016"/>
                  </a:cubicBezTo>
                  <a:cubicBezTo>
                    <a:pt x="358101" y="48360"/>
                    <a:pt x="384347" y="74606"/>
                    <a:pt x="403692" y="107754"/>
                  </a:cubicBezTo>
                  <a:cubicBezTo>
                    <a:pt x="423036" y="140902"/>
                    <a:pt x="432708" y="177102"/>
                    <a:pt x="432708" y="216354"/>
                  </a:cubicBezTo>
                  <a:cubicBezTo>
                    <a:pt x="432708" y="255605"/>
                    <a:pt x="423036" y="291805"/>
                    <a:pt x="403692" y="324953"/>
                  </a:cubicBezTo>
                  <a:cubicBezTo>
                    <a:pt x="384347" y="358101"/>
                    <a:pt x="358101" y="384347"/>
                    <a:pt x="324953" y="403691"/>
                  </a:cubicBezTo>
                  <a:cubicBezTo>
                    <a:pt x="291806" y="423035"/>
                    <a:pt x="255606" y="432707"/>
                    <a:pt x="216354" y="432707"/>
                  </a:cubicBezTo>
                  <a:cubicBezTo>
                    <a:pt x="177102" y="432707"/>
                    <a:pt x="140902" y="423035"/>
                    <a:pt x="107755" y="403691"/>
                  </a:cubicBezTo>
                  <a:cubicBezTo>
                    <a:pt x="74607" y="384347"/>
                    <a:pt x="48361" y="358101"/>
                    <a:pt x="29016" y="324953"/>
                  </a:cubicBezTo>
                  <a:cubicBezTo>
                    <a:pt x="9673" y="291805"/>
                    <a:pt x="0" y="255605"/>
                    <a:pt x="0" y="216354"/>
                  </a:cubicBezTo>
                  <a:cubicBezTo>
                    <a:pt x="0" y="177102"/>
                    <a:pt x="9673" y="140902"/>
                    <a:pt x="29016" y="107754"/>
                  </a:cubicBezTo>
                  <a:cubicBezTo>
                    <a:pt x="48361" y="74606"/>
                    <a:pt x="74607" y="48360"/>
                    <a:pt x="107755" y="29016"/>
                  </a:cubicBezTo>
                  <a:cubicBezTo>
                    <a:pt x="140902" y="9672"/>
                    <a:pt x="177102" y="0"/>
                    <a:pt x="216354" y="0"/>
                  </a:cubicBezTo>
                  <a:close/>
                </a:path>
              </a:pathLst>
            </a:custGeom>
            <a:solidFill>
              <a:srgbClr val="0E457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7" name="群組 36"/>
          <p:cNvGrpSpPr/>
          <p:nvPr/>
        </p:nvGrpSpPr>
        <p:grpSpPr>
          <a:xfrm>
            <a:off x="1019361" y="3872742"/>
            <a:ext cx="684151" cy="603132"/>
            <a:chOff x="866568" y="3130261"/>
            <a:chExt cx="684151" cy="603132"/>
          </a:xfrm>
        </p:grpSpPr>
        <p:sp>
          <p:nvSpPr>
            <p:cNvPr id="9" name="圆角矩形 44"/>
            <p:cNvSpPr/>
            <p:nvPr/>
          </p:nvSpPr>
          <p:spPr>
            <a:xfrm>
              <a:off x="866568" y="3130261"/>
              <a:ext cx="684151" cy="603132"/>
            </a:xfrm>
            <a:prstGeom prst="roundRect">
              <a:avLst/>
            </a:prstGeom>
            <a:gradFill flip="none" rotWithShape="1">
              <a:gsLst>
                <a:gs pos="0">
                  <a:srgbClr val="A5A5A5">
                    <a:lumMod val="5000"/>
                    <a:lumOff val="95000"/>
                  </a:srgbClr>
                </a:gs>
                <a:gs pos="74000">
                  <a:srgbClr val="A5A5A5">
                    <a:lumMod val="45000"/>
                    <a:lumOff val="55000"/>
                  </a:srgbClr>
                </a:gs>
                <a:gs pos="83000">
                  <a:srgbClr val="A5A5A5">
                    <a:lumMod val="45000"/>
                    <a:lumOff val="55000"/>
                  </a:srgbClr>
                </a:gs>
                <a:gs pos="100000">
                  <a:srgbClr val="A5A5A5">
                    <a:lumMod val="30000"/>
                    <a:lumOff val="70000"/>
                  </a:srgbClr>
                </a:gs>
              </a:gsLst>
              <a:lin ang="18900000" scaled="1"/>
              <a:tileRect/>
            </a:gradFill>
            <a:ln w="12700" cap="flat" cmpd="sng" algn="ctr">
              <a:gradFill flip="none" rotWithShape="1">
                <a:gsLst>
                  <a:gs pos="0">
                    <a:srgbClr val="A5A5A5">
                      <a:lumMod val="5000"/>
                      <a:lumOff val="95000"/>
                    </a:srgbClr>
                  </a:gs>
                  <a:gs pos="74000">
                    <a:srgbClr val="A5A5A5">
                      <a:lumMod val="45000"/>
                      <a:lumOff val="55000"/>
                    </a:srgbClr>
                  </a:gs>
                  <a:gs pos="83000">
                    <a:srgbClr val="A5A5A5">
                      <a:lumMod val="45000"/>
                      <a:lumOff val="55000"/>
                    </a:srgbClr>
                  </a:gs>
                  <a:gs pos="100000">
                    <a:srgbClr val="A5A5A5">
                      <a:lumMod val="30000"/>
                      <a:lumOff val="70000"/>
                    </a:srgbClr>
                  </a:gs>
                </a:gsLst>
                <a:lin ang="8100000" scaled="1"/>
                <a:tileRect/>
              </a:gradFill>
              <a:prstDash val="solid"/>
              <a:miter lim="800000"/>
            </a:ln>
            <a:effectLst>
              <a:outerShdw blurRad="127000" dist="50800" dir="8100000" algn="tr" rotWithShape="0">
                <a:sysClr val="window" lastClr="FFFFFF">
                  <a:lumMod val="50000"/>
                  <a:alpha val="40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914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32" name="Freeform 321"/>
            <p:cNvSpPr/>
            <p:nvPr/>
          </p:nvSpPr>
          <p:spPr>
            <a:xfrm>
              <a:off x="952503" y="3239480"/>
              <a:ext cx="504825" cy="396445"/>
            </a:xfrm>
            <a:custGeom>
              <a:avLst/>
              <a:gdLst>
                <a:gd name="connsiteX0" fmla="*/ 153249 w 504825"/>
                <a:gd name="connsiteY0" fmla="*/ 288471 h 396648"/>
                <a:gd name="connsiteX1" fmla="*/ 423692 w 504825"/>
                <a:gd name="connsiteY1" fmla="*/ 288471 h 396648"/>
                <a:gd name="connsiteX2" fmla="*/ 430029 w 504825"/>
                <a:gd name="connsiteY2" fmla="*/ 291148 h 396648"/>
                <a:gd name="connsiteX3" fmla="*/ 432706 w 504825"/>
                <a:gd name="connsiteY3" fmla="*/ 297486 h 396648"/>
                <a:gd name="connsiteX4" fmla="*/ 432706 w 504825"/>
                <a:gd name="connsiteY4" fmla="*/ 315516 h 396648"/>
                <a:gd name="connsiteX5" fmla="*/ 430029 w 504825"/>
                <a:gd name="connsiteY5" fmla="*/ 321854 h 396648"/>
                <a:gd name="connsiteX6" fmla="*/ 423692 w 504825"/>
                <a:gd name="connsiteY6" fmla="*/ 324530 h 396648"/>
                <a:gd name="connsiteX7" fmla="*/ 153249 w 504825"/>
                <a:gd name="connsiteY7" fmla="*/ 324530 h 396648"/>
                <a:gd name="connsiteX8" fmla="*/ 146911 w 504825"/>
                <a:gd name="connsiteY8" fmla="*/ 321854 h 396648"/>
                <a:gd name="connsiteX9" fmla="*/ 144234 w 504825"/>
                <a:gd name="connsiteY9" fmla="*/ 315516 h 396648"/>
                <a:gd name="connsiteX10" fmla="*/ 144234 w 504825"/>
                <a:gd name="connsiteY10" fmla="*/ 297486 h 396648"/>
                <a:gd name="connsiteX11" fmla="*/ 146911 w 504825"/>
                <a:gd name="connsiteY11" fmla="*/ 291148 h 396648"/>
                <a:gd name="connsiteX12" fmla="*/ 153249 w 504825"/>
                <a:gd name="connsiteY12" fmla="*/ 288471 h 396648"/>
                <a:gd name="connsiteX13" fmla="*/ 81132 w 504825"/>
                <a:gd name="connsiteY13" fmla="*/ 288471 h 396648"/>
                <a:gd name="connsiteX14" fmla="*/ 99162 w 504825"/>
                <a:gd name="connsiteY14" fmla="*/ 288471 h 396648"/>
                <a:gd name="connsiteX15" fmla="*/ 105500 w 504825"/>
                <a:gd name="connsiteY15" fmla="*/ 291148 h 396648"/>
                <a:gd name="connsiteX16" fmla="*/ 108176 w 504825"/>
                <a:gd name="connsiteY16" fmla="*/ 297486 h 396648"/>
                <a:gd name="connsiteX17" fmla="*/ 108176 w 504825"/>
                <a:gd name="connsiteY17" fmla="*/ 315516 h 396648"/>
                <a:gd name="connsiteX18" fmla="*/ 105500 w 504825"/>
                <a:gd name="connsiteY18" fmla="*/ 321854 h 396648"/>
                <a:gd name="connsiteX19" fmla="*/ 99162 w 504825"/>
                <a:gd name="connsiteY19" fmla="*/ 324530 h 396648"/>
                <a:gd name="connsiteX20" fmla="*/ 81132 w 504825"/>
                <a:gd name="connsiteY20" fmla="*/ 324530 h 396648"/>
                <a:gd name="connsiteX21" fmla="*/ 74793 w 504825"/>
                <a:gd name="connsiteY21" fmla="*/ 321854 h 396648"/>
                <a:gd name="connsiteX22" fmla="*/ 72117 w 504825"/>
                <a:gd name="connsiteY22" fmla="*/ 315516 h 396648"/>
                <a:gd name="connsiteX23" fmla="*/ 72117 w 504825"/>
                <a:gd name="connsiteY23" fmla="*/ 297486 h 396648"/>
                <a:gd name="connsiteX24" fmla="*/ 74793 w 504825"/>
                <a:gd name="connsiteY24" fmla="*/ 291148 h 396648"/>
                <a:gd name="connsiteX25" fmla="*/ 81132 w 504825"/>
                <a:gd name="connsiteY25" fmla="*/ 288471 h 396648"/>
                <a:gd name="connsiteX26" fmla="*/ 153249 w 504825"/>
                <a:gd name="connsiteY26" fmla="*/ 216354 h 396648"/>
                <a:gd name="connsiteX27" fmla="*/ 423692 w 504825"/>
                <a:gd name="connsiteY27" fmla="*/ 216354 h 396648"/>
                <a:gd name="connsiteX28" fmla="*/ 430029 w 504825"/>
                <a:gd name="connsiteY28" fmla="*/ 219030 h 396648"/>
                <a:gd name="connsiteX29" fmla="*/ 432706 w 504825"/>
                <a:gd name="connsiteY29" fmla="*/ 225368 h 396648"/>
                <a:gd name="connsiteX30" fmla="*/ 432706 w 504825"/>
                <a:gd name="connsiteY30" fmla="*/ 243398 h 396648"/>
                <a:gd name="connsiteX31" fmla="*/ 430029 w 504825"/>
                <a:gd name="connsiteY31" fmla="*/ 249736 h 396648"/>
                <a:gd name="connsiteX32" fmla="*/ 423692 w 504825"/>
                <a:gd name="connsiteY32" fmla="*/ 252412 h 396648"/>
                <a:gd name="connsiteX33" fmla="*/ 153249 w 504825"/>
                <a:gd name="connsiteY33" fmla="*/ 252412 h 396648"/>
                <a:gd name="connsiteX34" fmla="*/ 146911 w 504825"/>
                <a:gd name="connsiteY34" fmla="*/ 249736 h 396648"/>
                <a:gd name="connsiteX35" fmla="*/ 144234 w 504825"/>
                <a:gd name="connsiteY35" fmla="*/ 243398 h 396648"/>
                <a:gd name="connsiteX36" fmla="*/ 144234 w 504825"/>
                <a:gd name="connsiteY36" fmla="*/ 225368 h 396648"/>
                <a:gd name="connsiteX37" fmla="*/ 146911 w 504825"/>
                <a:gd name="connsiteY37" fmla="*/ 219030 h 396648"/>
                <a:gd name="connsiteX38" fmla="*/ 153249 w 504825"/>
                <a:gd name="connsiteY38" fmla="*/ 216354 h 396648"/>
                <a:gd name="connsiteX39" fmla="*/ 81132 w 504825"/>
                <a:gd name="connsiteY39" fmla="*/ 216354 h 396648"/>
                <a:gd name="connsiteX40" fmla="*/ 99162 w 504825"/>
                <a:gd name="connsiteY40" fmla="*/ 216354 h 396648"/>
                <a:gd name="connsiteX41" fmla="*/ 105500 w 504825"/>
                <a:gd name="connsiteY41" fmla="*/ 219030 h 396648"/>
                <a:gd name="connsiteX42" fmla="*/ 108176 w 504825"/>
                <a:gd name="connsiteY42" fmla="*/ 225368 h 396648"/>
                <a:gd name="connsiteX43" fmla="*/ 108176 w 504825"/>
                <a:gd name="connsiteY43" fmla="*/ 243398 h 396648"/>
                <a:gd name="connsiteX44" fmla="*/ 105500 w 504825"/>
                <a:gd name="connsiteY44" fmla="*/ 249736 h 396648"/>
                <a:gd name="connsiteX45" fmla="*/ 99162 w 504825"/>
                <a:gd name="connsiteY45" fmla="*/ 252412 h 396648"/>
                <a:gd name="connsiteX46" fmla="*/ 81132 w 504825"/>
                <a:gd name="connsiteY46" fmla="*/ 252412 h 396648"/>
                <a:gd name="connsiteX47" fmla="*/ 74793 w 504825"/>
                <a:gd name="connsiteY47" fmla="*/ 249736 h 396648"/>
                <a:gd name="connsiteX48" fmla="*/ 72117 w 504825"/>
                <a:gd name="connsiteY48" fmla="*/ 243398 h 396648"/>
                <a:gd name="connsiteX49" fmla="*/ 72117 w 504825"/>
                <a:gd name="connsiteY49" fmla="*/ 225368 h 396648"/>
                <a:gd name="connsiteX50" fmla="*/ 74793 w 504825"/>
                <a:gd name="connsiteY50" fmla="*/ 219030 h 396648"/>
                <a:gd name="connsiteX51" fmla="*/ 81132 w 504825"/>
                <a:gd name="connsiteY51" fmla="*/ 216354 h 396648"/>
                <a:gd name="connsiteX52" fmla="*/ 153249 w 504825"/>
                <a:gd name="connsiteY52" fmla="*/ 144236 h 396648"/>
                <a:gd name="connsiteX53" fmla="*/ 423692 w 504825"/>
                <a:gd name="connsiteY53" fmla="*/ 144236 h 396648"/>
                <a:gd name="connsiteX54" fmla="*/ 430029 w 504825"/>
                <a:gd name="connsiteY54" fmla="*/ 146912 h 396648"/>
                <a:gd name="connsiteX55" fmla="*/ 432706 w 504825"/>
                <a:gd name="connsiteY55" fmla="*/ 153250 h 396648"/>
                <a:gd name="connsiteX56" fmla="*/ 432706 w 504825"/>
                <a:gd name="connsiteY56" fmla="*/ 171280 h 396648"/>
                <a:gd name="connsiteX57" fmla="*/ 430029 w 504825"/>
                <a:gd name="connsiteY57" fmla="*/ 177618 h 396648"/>
                <a:gd name="connsiteX58" fmla="*/ 423692 w 504825"/>
                <a:gd name="connsiteY58" fmla="*/ 180295 h 396648"/>
                <a:gd name="connsiteX59" fmla="*/ 153249 w 504825"/>
                <a:gd name="connsiteY59" fmla="*/ 180295 h 396648"/>
                <a:gd name="connsiteX60" fmla="*/ 146911 w 504825"/>
                <a:gd name="connsiteY60" fmla="*/ 177618 h 396648"/>
                <a:gd name="connsiteX61" fmla="*/ 144234 w 504825"/>
                <a:gd name="connsiteY61" fmla="*/ 171280 h 396648"/>
                <a:gd name="connsiteX62" fmla="*/ 144234 w 504825"/>
                <a:gd name="connsiteY62" fmla="*/ 153250 h 396648"/>
                <a:gd name="connsiteX63" fmla="*/ 146911 w 504825"/>
                <a:gd name="connsiteY63" fmla="*/ 146912 h 396648"/>
                <a:gd name="connsiteX64" fmla="*/ 153249 w 504825"/>
                <a:gd name="connsiteY64" fmla="*/ 144236 h 396648"/>
                <a:gd name="connsiteX65" fmla="*/ 81132 w 504825"/>
                <a:gd name="connsiteY65" fmla="*/ 144236 h 396648"/>
                <a:gd name="connsiteX66" fmla="*/ 99162 w 504825"/>
                <a:gd name="connsiteY66" fmla="*/ 144236 h 396648"/>
                <a:gd name="connsiteX67" fmla="*/ 105500 w 504825"/>
                <a:gd name="connsiteY67" fmla="*/ 146912 h 396648"/>
                <a:gd name="connsiteX68" fmla="*/ 108176 w 504825"/>
                <a:gd name="connsiteY68" fmla="*/ 153250 h 396648"/>
                <a:gd name="connsiteX69" fmla="*/ 108176 w 504825"/>
                <a:gd name="connsiteY69" fmla="*/ 171280 h 396648"/>
                <a:gd name="connsiteX70" fmla="*/ 105500 w 504825"/>
                <a:gd name="connsiteY70" fmla="*/ 177618 h 396648"/>
                <a:gd name="connsiteX71" fmla="*/ 99162 w 504825"/>
                <a:gd name="connsiteY71" fmla="*/ 180295 h 396648"/>
                <a:gd name="connsiteX72" fmla="*/ 81132 w 504825"/>
                <a:gd name="connsiteY72" fmla="*/ 180295 h 396648"/>
                <a:gd name="connsiteX73" fmla="*/ 74793 w 504825"/>
                <a:gd name="connsiteY73" fmla="*/ 177618 h 396648"/>
                <a:gd name="connsiteX74" fmla="*/ 72117 w 504825"/>
                <a:gd name="connsiteY74" fmla="*/ 171280 h 396648"/>
                <a:gd name="connsiteX75" fmla="*/ 72117 w 504825"/>
                <a:gd name="connsiteY75" fmla="*/ 153250 h 396648"/>
                <a:gd name="connsiteX76" fmla="*/ 74793 w 504825"/>
                <a:gd name="connsiteY76" fmla="*/ 146912 h 396648"/>
                <a:gd name="connsiteX77" fmla="*/ 81132 w 504825"/>
                <a:gd name="connsiteY77" fmla="*/ 144236 h 396648"/>
                <a:gd name="connsiteX78" fmla="*/ 45073 w 504825"/>
                <a:gd name="connsiteY78" fmla="*/ 108177 h 396648"/>
                <a:gd name="connsiteX79" fmla="*/ 38735 w 504825"/>
                <a:gd name="connsiteY79" fmla="*/ 110853 h 396648"/>
                <a:gd name="connsiteX80" fmla="*/ 36059 w 504825"/>
                <a:gd name="connsiteY80" fmla="*/ 117191 h 396648"/>
                <a:gd name="connsiteX81" fmla="*/ 36059 w 504825"/>
                <a:gd name="connsiteY81" fmla="*/ 351575 h 396648"/>
                <a:gd name="connsiteX82" fmla="*/ 38735 w 504825"/>
                <a:gd name="connsiteY82" fmla="*/ 357913 h 396648"/>
                <a:gd name="connsiteX83" fmla="*/ 45073 w 504825"/>
                <a:gd name="connsiteY83" fmla="*/ 360589 h 396648"/>
                <a:gd name="connsiteX84" fmla="*/ 459751 w 504825"/>
                <a:gd name="connsiteY84" fmla="*/ 360589 h 396648"/>
                <a:gd name="connsiteX85" fmla="*/ 466090 w 504825"/>
                <a:gd name="connsiteY85" fmla="*/ 357913 h 396648"/>
                <a:gd name="connsiteX86" fmla="*/ 468765 w 504825"/>
                <a:gd name="connsiteY86" fmla="*/ 351575 h 396648"/>
                <a:gd name="connsiteX87" fmla="*/ 468765 w 504825"/>
                <a:gd name="connsiteY87" fmla="*/ 117191 h 396648"/>
                <a:gd name="connsiteX88" fmla="*/ 466090 w 504825"/>
                <a:gd name="connsiteY88" fmla="*/ 110853 h 396648"/>
                <a:gd name="connsiteX89" fmla="*/ 459751 w 504825"/>
                <a:gd name="connsiteY89" fmla="*/ 108177 h 396648"/>
                <a:gd name="connsiteX90" fmla="*/ 45073 w 504825"/>
                <a:gd name="connsiteY90" fmla="*/ 0 h 396648"/>
                <a:gd name="connsiteX91" fmla="*/ 459751 w 504825"/>
                <a:gd name="connsiteY91" fmla="*/ 0 h 396648"/>
                <a:gd name="connsiteX92" fmla="*/ 491584 w 504825"/>
                <a:gd name="connsiteY92" fmla="*/ 13240 h 396648"/>
                <a:gd name="connsiteX93" fmla="*/ 504825 w 504825"/>
                <a:gd name="connsiteY93" fmla="*/ 45074 h 396648"/>
                <a:gd name="connsiteX94" fmla="*/ 504825 w 504825"/>
                <a:gd name="connsiteY94" fmla="*/ 351575 h 396648"/>
                <a:gd name="connsiteX95" fmla="*/ 491584 w 504825"/>
                <a:gd name="connsiteY95" fmla="*/ 383408 h 396648"/>
                <a:gd name="connsiteX96" fmla="*/ 459751 w 504825"/>
                <a:gd name="connsiteY96" fmla="*/ 396648 h 396648"/>
                <a:gd name="connsiteX97" fmla="*/ 45073 w 504825"/>
                <a:gd name="connsiteY97" fmla="*/ 396648 h 396648"/>
                <a:gd name="connsiteX98" fmla="*/ 13240 w 504825"/>
                <a:gd name="connsiteY98" fmla="*/ 383408 h 396648"/>
                <a:gd name="connsiteX99" fmla="*/ 0 w 504825"/>
                <a:gd name="connsiteY99" fmla="*/ 351575 h 396648"/>
                <a:gd name="connsiteX100" fmla="*/ 0 w 504825"/>
                <a:gd name="connsiteY100" fmla="*/ 45074 h 396648"/>
                <a:gd name="connsiteX101" fmla="*/ 13240 w 504825"/>
                <a:gd name="connsiteY101" fmla="*/ 13240 h 396648"/>
                <a:gd name="connsiteX102" fmla="*/ 45073 w 504825"/>
                <a:gd name="connsiteY102" fmla="*/ 0 h 396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04825" h="396648">
                  <a:moveTo>
                    <a:pt x="153249" y="288471"/>
                  </a:moveTo>
                  <a:lnTo>
                    <a:pt x="423692" y="288471"/>
                  </a:lnTo>
                  <a:cubicBezTo>
                    <a:pt x="426133" y="288471"/>
                    <a:pt x="428246" y="289363"/>
                    <a:pt x="430029" y="291148"/>
                  </a:cubicBezTo>
                  <a:cubicBezTo>
                    <a:pt x="431814" y="292932"/>
                    <a:pt x="432706" y="295045"/>
                    <a:pt x="432706" y="297486"/>
                  </a:cubicBezTo>
                  <a:lnTo>
                    <a:pt x="432706" y="315516"/>
                  </a:lnTo>
                  <a:cubicBezTo>
                    <a:pt x="432706" y="317957"/>
                    <a:pt x="431814" y="320070"/>
                    <a:pt x="430029" y="321854"/>
                  </a:cubicBezTo>
                  <a:cubicBezTo>
                    <a:pt x="428246" y="323638"/>
                    <a:pt x="426133" y="324530"/>
                    <a:pt x="423692" y="324530"/>
                  </a:cubicBezTo>
                  <a:lnTo>
                    <a:pt x="153249" y="324530"/>
                  </a:lnTo>
                  <a:cubicBezTo>
                    <a:pt x="150808" y="324530"/>
                    <a:pt x="148696" y="323638"/>
                    <a:pt x="146911" y="321854"/>
                  </a:cubicBezTo>
                  <a:cubicBezTo>
                    <a:pt x="145127" y="320070"/>
                    <a:pt x="144234" y="317957"/>
                    <a:pt x="144234" y="315516"/>
                  </a:cubicBezTo>
                  <a:lnTo>
                    <a:pt x="144234" y="297486"/>
                  </a:lnTo>
                  <a:cubicBezTo>
                    <a:pt x="144234" y="295045"/>
                    <a:pt x="145127" y="292932"/>
                    <a:pt x="146911" y="291148"/>
                  </a:cubicBezTo>
                  <a:cubicBezTo>
                    <a:pt x="148696" y="289363"/>
                    <a:pt x="150808" y="288471"/>
                    <a:pt x="153249" y="288471"/>
                  </a:cubicBezTo>
                  <a:close/>
                  <a:moveTo>
                    <a:pt x="81132" y="288471"/>
                  </a:moveTo>
                  <a:lnTo>
                    <a:pt x="99162" y="288471"/>
                  </a:lnTo>
                  <a:cubicBezTo>
                    <a:pt x="101603" y="288471"/>
                    <a:pt x="103716" y="289363"/>
                    <a:pt x="105500" y="291148"/>
                  </a:cubicBezTo>
                  <a:cubicBezTo>
                    <a:pt x="107285" y="292932"/>
                    <a:pt x="108176" y="295045"/>
                    <a:pt x="108176" y="297486"/>
                  </a:cubicBezTo>
                  <a:lnTo>
                    <a:pt x="108176" y="315516"/>
                  </a:lnTo>
                  <a:cubicBezTo>
                    <a:pt x="108176" y="317957"/>
                    <a:pt x="107285" y="320070"/>
                    <a:pt x="105500" y="321854"/>
                  </a:cubicBezTo>
                  <a:cubicBezTo>
                    <a:pt x="103716" y="323638"/>
                    <a:pt x="101603" y="324530"/>
                    <a:pt x="99162" y="324530"/>
                  </a:cubicBezTo>
                  <a:lnTo>
                    <a:pt x="81132" y="324530"/>
                  </a:lnTo>
                  <a:cubicBezTo>
                    <a:pt x="78691" y="324530"/>
                    <a:pt x="76579" y="323638"/>
                    <a:pt x="74793" y="321854"/>
                  </a:cubicBezTo>
                  <a:cubicBezTo>
                    <a:pt x="73010" y="320070"/>
                    <a:pt x="72117" y="317957"/>
                    <a:pt x="72117" y="315516"/>
                  </a:cubicBezTo>
                  <a:lnTo>
                    <a:pt x="72117" y="297486"/>
                  </a:lnTo>
                  <a:cubicBezTo>
                    <a:pt x="72117" y="295045"/>
                    <a:pt x="73010" y="292932"/>
                    <a:pt x="74793" y="291148"/>
                  </a:cubicBezTo>
                  <a:cubicBezTo>
                    <a:pt x="76579" y="289363"/>
                    <a:pt x="78691" y="288471"/>
                    <a:pt x="81132" y="288471"/>
                  </a:cubicBezTo>
                  <a:close/>
                  <a:moveTo>
                    <a:pt x="153249" y="216354"/>
                  </a:moveTo>
                  <a:lnTo>
                    <a:pt x="423692" y="216354"/>
                  </a:lnTo>
                  <a:cubicBezTo>
                    <a:pt x="426133" y="216354"/>
                    <a:pt x="428246" y="217246"/>
                    <a:pt x="430029" y="219030"/>
                  </a:cubicBezTo>
                  <a:cubicBezTo>
                    <a:pt x="431814" y="220814"/>
                    <a:pt x="432706" y="222927"/>
                    <a:pt x="432706" y="225368"/>
                  </a:cubicBezTo>
                  <a:lnTo>
                    <a:pt x="432706" y="243398"/>
                  </a:lnTo>
                  <a:cubicBezTo>
                    <a:pt x="432706" y="245839"/>
                    <a:pt x="431814" y="247952"/>
                    <a:pt x="430029" y="249736"/>
                  </a:cubicBezTo>
                  <a:cubicBezTo>
                    <a:pt x="428246" y="251520"/>
                    <a:pt x="426133" y="252412"/>
                    <a:pt x="423692" y="252412"/>
                  </a:cubicBezTo>
                  <a:lnTo>
                    <a:pt x="153249" y="252412"/>
                  </a:lnTo>
                  <a:cubicBezTo>
                    <a:pt x="150808" y="252412"/>
                    <a:pt x="148696" y="251520"/>
                    <a:pt x="146911" y="249736"/>
                  </a:cubicBezTo>
                  <a:cubicBezTo>
                    <a:pt x="145127" y="247952"/>
                    <a:pt x="144234" y="245839"/>
                    <a:pt x="144234" y="243398"/>
                  </a:cubicBezTo>
                  <a:lnTo>
                    <a:pt x="144234" y="225368"/>
                  </a:lnTo>
                  <a:cubicBezTo>
                    <a:pt x="144234" y="222927"/>
                    <a:pt x="145127" y="220814"/>
                    <a:pt x="146911" y="219030"/>
                  </a:cubicBezTo>
                  <a:cubicBezTo>
                    <a:pt x="148696" y="217246"/>
                    <a:pt x="150808" y="216354"/>
                    <a:pt x="153249" y="216354"/>
                  </a:cubicBezTo>
                  <a:close/>
                  <a:moveTo>
                    <a:pt x="81132" y="216354"/>
                  </a:moveTo>
                  <a:lnTo>
                    <a:pt x="99162" y="216354"/>
                  </a:lnTo>
                  <a:cubicBezTo>
                    <a:pt x="101603" y="216354"/>
                    <a:pt x="103716" y="217246"/>
                    <a:pt x="105500" y="219030"/>
                  </a:cubicBezTo>
                  <a:cubicBezTo>
                    <a:pt x="107285" y="220814"/>
                    <a:pt x="108176" y="222927"/>
                    <a:pt x="108176" y="225368"/>
                  </a:cubicBezTo>
                  <a:lnTo>
                    <a:pt x="108176" y="243398"/>
                  </a:lnTo>
                  <a:cubicBezTo>
                    <a:pt x="108176" y="245839"/>
                    <a:pt x="107285" y="247952"/>
                    <a:pt x="105500" y="249736"/>
                  </a:cubicBezTo>
                  <a:cubicBezTo>
                    <a:pt x="103716" y="251520"/>
                    <a:pt x="101603" y="252412"/>
                    <a:pt x="99162" y="252412"/>
                  </a:cubicBezTo>
                  <a:lnTo>
                    <a:pt x="81132" y="252412"/>
                  </a:lnTo>
                  <a:cubicBezTo>
                    <a:pt x="78691" y="252412"/>
                    <a:pt x="76579" y="251520"/>
                    <a:pt x="74793" y="249736"/>
                  </a:cubicBezTo>
                  <a:cubicBezTo>
                    <a:pt x="73010" y="247952"/>
                    <a:pt x="72117" y="245839"/>
                    <a:pt x="72117" y="243398"/>
                  </a:cubicBezTo>
                  <a:lnTo>
                    <a:pt x="72117" y="225368"/>
                  </a:lnTo>
                  <a:cubicBezTo>
                    <a:pt x="72117" y="222927"/>
                    <a:pt x="73010" y="220814"/>
                    <a:pt x="74793" y="219030"/>
                  </a:cubicBezTo>
                  <a:cubicBezTo>
                    <a:pt x="76579" y="217246"/>
                    <a:pt x="78691" y="216354"/>
                    <a:pt x="81132" y="216354"/>
                  </a:cubicBezTo>
                  <a:close/>
                  <a:moveTo>
                    <a:pt x="153249" y="144236"/>
                  </a:moveTo>
                  <a:lnTo>
                    <a:pt x="423692" y="144236"/>
                  </a:lnTo>
                  <a:cubicBezTo>
                    <a:pt x="426133" y="144236"/>
                    <a:pt x="428246" y="145128"/>
                    <a:pt x="430029" y="146912"/>
                  </a:cubicBezTo>
                  <a:cubicBezTo>
                    <a:pt x="431814" y="148696"/>
                    <a:pt x="432706" y="150809"/>
                    <a:pt x="432706" y="153250"/>
                  </a:cubicBezTo>
                  <a:lnTo>
                    <a:pt x="432706" y="171280"/>
                  </a:lnTo>
                  <a:cubicBezTo>
                    <a:pt x="432706" y="173721"/>
                    <a:pt x="431814" y="175834"/>
                    <a:pt x="430029" y="177618"/>
                  </a:cubicBezTo>
                  <a:cubicBezTo>
                    <a:pt x="428246" y="179403"/>
                    <a:pt x="426133" y="180295"/>
                    <a:pt x="423692" y="180295"/>
                  </a:cubicBezTo>
                  <a:lnTo>
                    <a:pt x="153249" y="180295"/>
                  </a:lnTo>
                  <a:cubicBezTo>
                    <a:pt x="150808" y="180295"/>
                    <a:pt x="148696" y="179403"/>
                    <a:pt x="146911" y="177618"/>
                  </a:cubicBezTo>
                  <a:cubicBezTo>
                    <a:pt x="145127" y="175834"/>
                    <a:pt x="144234" y="173721"/>
                    <a:pt x="144234" y="171280"/>
                  </a:cubicBezTo>
                  <a:lnTo>
                    <a:pt x="144234" y="153250"/>
                  </a:lnTo>
                  <a:cubicBezTo>
                    <a:pt x="144234" y="150809"/>
                    <a:pt x="145127" y="148696"/>
                    <a:pt x="146911" y="146912"/>
                  </a:cubicBezTo>
                  <a:cubicBezTo>
                    <a:pt x="148696" y="145128"/>
                    <a:pt x="150808" y="144236"/>
                    <a:pt x="153249" y="144236"/>
                  </a:cubicBezTo>
                  <a:close/>
                  <a:moveTo>
                    <a:pt x="81132" y="144236"/>
                  </a:moveTo>
                  <a:lnTo>
                    <a:pt x="99162" y="144236"/>
                  </a:lnTo>
                  <a:cubicBezTo>
                    <a:pt x="101603" y="144236"/>
                    <a:pt x="103716" y="145128"/>
                    <a:pt x="105500" y="146912"/>
                  </a:cubicBezTo>
                  <a:cubicBezTo>
                    <a:pt x="107285" y="148696"/>
                    <a:pt x="108176" y="150809"/>
                    <a:pt x="108176" y="153250"/>
                  </a:cubicBezTo>
                  <a:lnTo>
                    <a:pt x="108176" y="171280"/>
                  </a:lnTo>
                  <a:cubicBezTo>
                    <a:pt x="108176" y="173721"/>
                    <a:pt x="107285" y="175834"/>
                    <a:pt x="105500" y="177618"/>
                  </a:cubicBezTo>
                  <a:cubicBezTo>
                    <a:pt x="103716" y="179403"/>
                    <a:pt x="101603" y="180295"/>
                    <a:pt x="99162" y="180295"/>
                  </a:cubicBezTo>
                  <a:lnTo>
                    <a:pt x="81132" y="180295"/>
                  </a:lnTo>
                  <a:cubicBezTo>
                    <a:pt x="78691" y="180295"/>
                    <a:pt x="76579" y="179403"/>
                    <a:pt x="74793" y="177618"/>
                  </a:cubicBezTo>
                  <a:cubicBezTo>
                    <a:pt x="73010" y="175834"/>
                    <a:pt x="72117" y="173721"/>
                    <a:pt x="72117" y="171280"/>
                  </a:cubicBezTo>
                  <a:lnTo>
                    <a:pt x="72117" y="153250"/>
                  </a:lnTo>
                  <a:cubicBezTo>
                    <a:pt x="72117" y="150809"/>
                    <a:pt x="73010" y="148696"/>
                    <a:pt x="74793" y="146912"/>
                  </a:cubicBezTo>
                  <a:cubicBezTo>
                    <a:pt x="76579" y="145128"/>
                    <a:pt x="78691" y="144236"/>
                    <a:pt x="81132" y="144236"/>
                  </a:cubicBezTo>
                  <a:close/>
                  <a:moveTo>
                    <a:pt x="45073" y="108177"/>
                  </a:moveTo>
                  <a:cubicBezTo>
                    <a:pt x="42633" y="108177"/>
                    <a:pt x="40519" y="109069"/>
                    <a:pt x="38735" y="110853"/>
                  </a:cubicBezTo>
                  <a:cubicBezTo>
                    <a:pt x="36951" y="112637"/>
                    <a:pt x="36059" y="114750"/>
                    <a:pt x="36059" y="117191"/>
                  </a:cubicBezTo>
                  <a:lnTo>
                    <a:pt x="36059" y="351575"/>
                  </a:lnTo>
                  <a:cubicBezTo>
                    <a:pt x="36059" y="354016"/>
                    <a:pt x="36951" y="356129"/>
                    <a:pt x="38735" y="357913"/>
                  </a:cubicBezTo>
                  <a:cubicBezTo>
                    <a:pt x="40519" y="359697"/>
                    <a:pt x="42633" y="360589"/>
                    <a:pt x="45073" y="360589"/>
                  </a:cubicBezTo>
                  <a:lnTo>
                    <a:pt x="459751" y="360589"/>
                  </a:lnTo>
                  <a:cubicBezTo>
                    <a:pt x="462192" y="360589"/>
                    <a:pt x="464305" y="359697"/>
                    <a:pt x="466090" y="357913"/>
                  </a:cubicBezTo>
                  <a:cubicBezTo>
                    <a:pt x="467875" y="356129"/>
                    <a:pt x="468765" y="354016"/>
                    <a:pt x="468765" y="351575"/>
                  </a:cubicBezTo>
                  <a:lnTo>
                    <a:pt x="468765" y="117191"/>
                  </a:lnTo>
                  <a:cubicBezTo>
                    <a:pt x="468765" y="114750"/>
                    <a:pt x="467875" y="112637"/>
                    <a:pt x="466090" y="110853"/>
                  </a:cubicBezTo>
                  <a:cubicBezTo>
                    <a:pt x="464305" y="109069"/>
                    <a:pt x="462192" y="108177"/>
                    <a:pt x="459751" y="108177"/>
                  </a:cubicBezTo>
                  <a:close/>
                  <a:moveTo>
                    <a:pt x="45073" y="0"/>
                  </a:moveTo>
                  <a:lnTo>
                    <a:pt x="459751" y="0"/>
                  </a:lnTo>
                  <a:cubicBezTo>
                    <a:pt x="472147" y="0"/>
                    <a:pt x="482758" y="4413"/>
                    <a:pt x="491584" y="13240"/>
                  </a:cubicBezTo>
                  <a:cubicBezTo>
                    <a:pt x="500412" y="22067"/>
                    <a:pt x="504825" y="32678"/>
                    <a:pt x="504825" y="45074"/>
                  </a:cubicBezTo>
                  <a:lnTo>
                    <a:pt x="504825" y="351575"/>
                  </a:lnTo>
                  <a:cubicBezTo>
                    <a:pt x="504825" y="363970"/>
                    <a:pt x="500412" y="374581"/>
                    <a:pt x="491584" y="383408"/>
                  </a:cubicBezTo>
                  <a:cubicBezTo>
                    <a:pt x="482758" y="392235"/>
                    <a:pt x="472147" y="396648"/>
                    <a:pt x="459751" y="396648"/>
                  </a:cubicBezTo>
                  <a:lnTo>
                    <a:pt x="45073" y="396648"/>
                  </a:lnTo>
                  <a:cubicBezTo>
                    <a:pt x="32678" y="396648"/>
                    <a:pt x="22068" y="392235"/>
                    <a:pt x="13240" y="383408"/>
                  </a:cubicBezTo>
                  <a:cubicBezTo>
                    <a:pt x="4413" y="374581"/>
                    <a:pt x="0" y="363970"/>
                    <a:pt x="0" y="351575"/>
                  </a:cubicBezTo>
                  <a:lnTo>
                    <a:pt x="0" y="45074"/>
                  </a:lnTo>
                  <a:cubicBezTo>
                    <a:pt x="0" y="32678"/>
                    <a:pt x="4413" y="22067"/>
                    <a:pt x="13240" y="13240"/>
                  </a:cubicBezTo>
                  <a:cubicBezTo>
                    <a:pt x="22068" y="4413"/>
                    <a:pt x="32678" y="0"/>
                    <a:pt x="45073" y="0"/>
                  </a:cubicBezTo>
                  <a:close/>
                </a:path>
              </a:pathLst>
            </a:custGeom>
            <a:solidFill>
              <a:srgbClr val="0E457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8" name="群組 37"/>
          <p:cNvGrpSpPr/>
          <p:nvPr/>
        </p:nvGrpSpPr>
        <p:grpSpPr>
          <a:xfrm>
            <a:off x="1019361" y="5373216"/>
            <a:ext cx="684151" cy="603132"/>
            <a:chOff x="866568" y="4454228"/>
            <a:chExt cx="684151" cy="603132"/>
          </a:xfrm>
        </p:grpSpPr>
        <p:sp>
          <p:nvSpPr>
            <p:cNvPr id="12" name="圆角矩形 47"/>
            <p:cNvSpPr/>
            <p:nvPr/>
          </p:nvSpPr>
          <p:spPr>
            <a:xfrm>
              <a:off x="866568" y="4454228"/>
              <a:ext cx="684151" cy="603132"/>
            </a:xfrm>
            <a:prstGeom prst="roundRect">
              <a:avLst/>
            </a:prstGeom>
            <a:gradFill flip="none" rotWithShape="1">
              <a:gsLst>
                <a:gs pos="0">
                  <a:srgbClr val="A5A5A5">
                    <a:lumMod val="5000"/>
                    <a:lumOff val="95000"/>
                  </a:srgbClr>
                </a:gs>
                <a:gs pos="74000">
                  <a:srgbClr val="A5A5A5">
                    <a:lumMod val="45000"/>
                    <a:lumOff val="55000"/>
                  </a:srgbClr>
                </a:gs>
                <a:gs pos="83000">
                  <a:srgbClr val="A5A5A5">
                    <a:lumMod val="45000"/>
                    <a:lumOff val="55000"/>
                  </a:srgbClr>
                </a:gs>
                <a:gs pos="100000">
                  <a:srgbClr val="A5A5A5">
                    <a:lumMod val="30000"/>
                    <a:lumOff val="70000"/>
                  </a:srgbClr>
                </a:gs>
              </a:gsLst>
              <a:lin ang="18900000" scaled="1"/>
              <a:tileRect/>
            </a:gradFill>
            <a:ln w="12700" cap="flat" cmpd="sng" algn="ctr">
              <a:gradFill flip="none" rotWithShape="1">
                <a:gsLst>
                  <a:gs pos="0">
                    <a:srgbClr val="A5A5A5">
                      <a:lumMod val="5000"/>
                      <a:lumOff val="95000"/>
                    </a:srgbClr>
                  </a:gs>
                  <a:gs pos="74000">
                    <a:srgbClr val="A5A5A5">
                      <a:lumMod val="45000"/>
                      <a:lumOff val="55000"/>
                    </a:srgbClr>
                  </a:gs>
                  <a:gs pos="83000">
                    <a:srgbClr val="A5A5A5">
                      <a:lumMod val="45000"/>
                      <a:lumOff val="55000"/>
                    </a:srgbClr>
                  </a:gs>
                  <a:gs pos="100000">
                    <a:srgbClr val="A5A5A5">
                      <a:lumMod val="30000"/>
                      <a:lumOff val="70000"/>
                    </a:srgbClr>
                  </a:gs>
                </a:gsLst>
                <a:lin ang="8100000" scaled="1"/>
                <a:tileRect/>
              </a:gradFill>
              <a:prstDash val="solid"/>
              <a:miter lim="800000"/>
            </a:ln>
            <a:effectLst>
              <a:outerShdw blurRad="127000" dist="50800" dir="8100000" algn="tr" rotWithShape="0">
                <a:sysClr val="window" lastClr="FFFFFF">
                  <a:lumMod val="50000"/>
                  <a:alpha val="40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914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33" name="Freeform 404"/>
            <p:cNvSpPr/>
            <p:nvPr/>
          </p:nvSpPr>
          <p:spPr>
            <a:xfrm>
              <a:off x="987332" y="4557571"/>
              <a:ext cx="502571" cy="396445"/>
            </a:xfrm>
            <a:custGeom>
              <a:avLst/>
              <a:gdLst>
                <a:gd name="connsiteX0" fmla="*/ 240018 w 502570"/>
                <a:gd name="connsiteY0" fmla="*/ 221988 h 396648"/>
                <a:gd name="connsiteX1" fmla="*/ 207339 w 502570"/>
                <a:gd name="connsiteY1" fmla="*/ 254666 h 396648"/>
                <a:gd name="connsiteX2" fmla="*/ 207339 w 502570"/>
                <a:gd name="connsiteY2" fmla="*/ 270442 h 396648"/>
                <a:gd name="connsiteX3" fmla="*/ 234383 w 502570"/>
                <a:gd name="connsiteY3" fmla="*/ 270442 h 396648"/>
                <a:gd name="connsiteX4" fmla="*/ 234383 w 502570"/>
                <a:gd name="connsiteY4" fmla="*/ 297486 h 396648"/>
                <a:gd name="connsiteX5" fmla="*/ 250159 w 502570"/>
                <a:gd name="connsiteY5" fmla="*/ 297486 h 396648"/>
                <a:gd name="connsiteX6" fmla="*/ 282837 w 502570"/>
                <a:gd name="connsiteY6" fmla="*/ 264808 h 396648"/>
                <a:gd name="connsiteX7" fmla="*/ 369533 w 502570"/>
                <a:gd name="connsiteY7" fmla="*/ 92471 h 396648"/>
                <a:gd name="connsiteX8" fmla="*/ 364815 w 502570"/>
                <a:gd name="connsiteY8" fmla="*/ 94936 h 396648"/>
                <a:gd name="connsiteX9" fmla="*/ 266216 w 502570"/>
                <a:gd name="connsiteY9" fmla="*/ 193535 h 396648"/>
                <a:gd name="connsiteX10" fmla="*/ 265935 w 502570"/>
                <a:gd name="connsiteY10" fmla="*/ 202831 h 396648"/>
                <a:gd name="connsiteX11" fmla="*/ 275231 w 502570"/>
                <a:gd name="connsiteY11" fmla="*/ 202550 h 396648"/>
                <a:gd name="connsiteX12" fmla="*/ 373829 w 502570"/>
                <a:gd name="connsiteY12" fmla="*/ 103951 h 396648"/>
                <a:gd name="connsiteX13" fmla="*/ 374112 w 502570"/>
                <a:gd name="connsiteY13" fmla="*/ 94655 h 396648"/>
                <a:gd name="connsiteX14" fmla="*/ 369533 w 502570"/>
                <a:gd name="connsiteY14" fmla="*/ 92471 h 396648"/>
                <a:gd name="connsiteX15" fmla="*/ 369604 w 502570"/>
                <a:gd name="connsiteY15" fmla="*/ 54088 h 396648"/>
                <a:gd name="connsiteX16" fmla="*/ 450736 w 502570"/>
                <a:gd name="connsiteY16" fmla="*/ 135221 h 396648"/>
                <a:gd name="connsiteX17" fmla="*/ 261427 w 502570"/>
                <a:gd name="connsiteY17" fmla="*/ 324530 h 396648"/>
                <a:gd name="connsiteX18" fmla="*/ 180295 w 502570"/>
                <a:gd name="connsiteY18" fmla="*/ 324530 h 396648"/>
                <a:gd name="connsiteX19" fmla="*/ 180295 w 502570"/>
                <a:gd name="connsiteY19" fmla="*/ 243398 h 396648"/>
                <a:gd name="connsiteX20" fmla="*/ 432706 w 502570"/>
                <a:gd name="connsiteY20" fmla="*/ 2254 h 396648"/>
                <a:gd name="connsiteX21" fmla="*/ 451863 w 502570"/>
                <a:gd name="connsiteY21" fmla="*/ 10142 h 396648"/>
                <a:gd name="connsiteX22" fmla="*/ 494683 w 502570"/>
                <a:gd name="connsiteY22" fmla="*/ 52961 h 396648"/>
                <a:gd name="connsiteX23" fmla="*/ 502570 w 502570"/>
                <a:gd name="connsiteY23" fmla="*/ 72118 h 396648"/>
                <a:gd name="connsiteX24" fmla="*/ 494683 w 502570"/>
                <a:gd name="connsiteY24" fmla="*/ 91274 h 396648"/>
                <a:gd name="connsiteX25" fmla="*/ 468766 w 502570"/>
                <a:gd name="connsiteY25" fmla="*/ 117191 h 396648"/>
                <a:gd name="connsiteX26" fmla="*/ 387632 w 502570"/>
                <a:gd name="connsiteY26" fmla="*/ 36059 h 396648"/>
                <a:gd name="connsiteX27" fmla="*/ 413550 w 502570"/>
                <a:gd name="connsiteY27" fmla="*/ 10142 h 396648"/>
                <a:gd name="connsiteX28" fmla="*/ 432706 w 502570"/>
                <a:gd name="connsiteY28" fmla="*/ 2254 h 396648"/>
                <a:gd name="connsiteX29" fmla="*/ 81133 w 502570"/>
                <a:gd name="connsiteY29" fmla="*/ 0 h 396648"/>
                <a:gd name="connsiteX30" fmla="*/ 315515 w 502570"/>
                <a:gd name="connsiteY30" fmla="*/ 0 h 396648"/>
                <a:gd name="connsiteX31" fmla="*/ 348476 w 502570"/>
                <a:gd name="connsiteY31" fmla="*/ 7043 h 396648"/>
                <a:gd name="connsiteX32" fmla="*/ 353547 w 502570"/>
                <a:gd name="connsiteY32" fmla="*/ 13522 h 396648"/>
                <a:gd name="connsiteX33" fmla="*/ 351011 w 502570"/>
                <a:gd name="connsiteY33" fmla="*/ 21692 h 396648"/>
                <a:gd name="connsiteX34" fmla="*/ 337207 w 502570"/>
                <a:gd name="connsiteY34" fmla="*/ 35496 h 396648"/>
                <a:gd name="connsiteX35" fmla="*/ 328193 w 502570"/>
                <a:gd name="connsiteY35" fmla="*/ 37749 h 396648"/>
                <a:gd name="connsiteX36" fmla="*/ 315515 w 502570"/>
                <a:gd name="connsiteY36" fmla="*/ 36059 h 396648"/>
                <a:gd name="connsiteX37" fmla="*/ 81133 w 502570"/>
                <a:gd name="connsiteY37" fmla="*/ 36059 h 396648"/>
                <a:gd name="connsiteX38" fmla="*/ 49299 w 502570"/>
                <a:gd name="connsiteY38" fmla="*/ 49299 h 396648"/>
                <a:gd name="connsiteX39" fmla="*/ 36059 w 502570"/>
                <a:gd name="connsiteY39" fmla="*/ 81133 h 396648"/>
                <a:gd name="connsiteX40" fmla="*/ 36059 w 502570"/>
                <a:gd name="connsiteY40" fmla="*/ 315515 h 396648"/>
                <a:gd name="connsiteX41" fmla="*/ 49299 w 502570"/>
                <a:gd name="connsiteY41" fmla="*/ 347349 h 396648"/>
                <a:gd name="connsiteX42" fmla="*/ 81133 w 502570"/>
                <a:gd name="connsiteY42" fmla="*/ 360589 h 396648"/>
                <a:gd name="connsiteX43" fmla="*/ 315515 w 502570"/>
                <a:gd name="connsiteY43" fmla="*/ 360589 h 396648"/>
                <a:gd name="connsiteX44" fmla="*/ 347349 w 502570"/>
                <a:gd name="connsiteY44" fmla="*/ 347349 h 396648"/>
                <a:gd name="connsiteX45" fmla="*/ 360589 w 502570"/>
                <a:gd name="connsiteY45" fmla="*/ 315515 h 396648"/>
                <a:gd name="connsiteX46" fmla="*/ 360589 w 502570"/>
                <a:gd name="connsiteY46" fmla="*/ 280020 h 396648"/>
                <a:gd name="connsiteX47" fmla="*/ 363125 w 502570"/>
                <a:gd name="connsiteY47" fmla="*/ 273822 h 396648"/>
                <a:gd name="connsiteX48" fmla="*/ 381154 w 502570"/>
                <a:gd name="connsiteY48" fmla="*/ 255793 h 396648"/>
                <a:gd name="connsiteX49" fmla="*/ 391014 w 502570"/>
                <a:gd name="connsiteY49" fmla="*/ 253821 h 396648"/>
                <a:gd name="connsiteX50" fmla="*/ 396649 w 502570"/>
                <a:gd name="connsiteY50" fmla="*/ 261991 h 396648"/>
                <a:gd name="connsiteX51" fmla="*/ 396649 w 502570"/>
                <a:gd name="connsiteY51" fmla="*/ 315515 h 396648"/>
                <a:gd name="connsiteX52" fmla="*/ 372843 w 502570"/>
                <a:gd name="connsiteY52" fmla="*/ 372844 h 396648"/>
                <a:gd name="connsiteX53" fmla="*/ 315515 w 502570"/>
                <a:gd name="connsiteY53" fmla="*/ 396648 h 396648"/>
                <a:gd name="connsiteX54" fmla="*/ 81133 w 502570"/>
                <a:gd name="connsiteY54" fmla="*/ 396648 h 396648"/>
                <a:gd name="connsiteX55" fmla="*/ 23804 w 502570"/>
                <a:gd name="connsiteY55" fmla="*/ 372844 h 396648"/>
                <a:gd name="connsiteX56" fmla="*/ 0 w 502570"/>
                <a:gd name="connsiteY56" fmla="*/ 315515 h 396648"/>
                <a:gd name="connsiteX57" fmla="*/ 0 w 502570"/>
                <a:gd name="connsiteY57" fmla="*/ 81133 h 396648"/>
                <a:gd name="connsiteX58" fmla="*/ 23804 w 502570"/>
                <a:gd name="connsiteY58" fmla="*/ 23805 h 396648"/>
                <a:gd name="connsiteX59" fmla="*/ 81133 w 502570"/>
                <a:gd name="connsiteY59" fmla="*/ 0 h 396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502570" h="396648">
                  <a:moveTo>
                    <a:pt x="240018" y="221988"/>
                  </a:moveTo>
                  <a:lnTo>
                    <a:pt x="207339" y="254666"/>
                  </a:lnTo>
                  <a:lnTo>
                    <a:pt x="207339" y="270442"/>
                  </a:lnTo>
                  <a:lnTo>
                    <a:pt x="234383" y="270442"/>
                  </a:lnTo>
                  <a:lnTo>
                    <a:pt x="234383" y="297486"/>
                  </a:lnTo>
                  <a:lnTo>
                    <a:pt x="250159" y="297486"/>
                  </a:lnTo>
                  <a:lnTo>
                    <a:pt x="282837" y="264808"/>
                  </a:lnTo>
                  <a:close/>
                  <a:moveTo>
                    <a:pt x="369533" y="92471"/>
                  </a:moveTo>
                  <a:cubicBezTo>
                    <a:pt x="367984" y="92518"/>
                    <a:pt x="366411" y="93340"/>
                    <a:pt x="364815" y="94936"/>
                  </a:cubicBezTo>
                  <a:lnTo>
                    <a:pt x="266216" y="193535"/>
                  </a:lnTo>
                  <a:cubicBezTo>
                    <a:pt x="263023" y="196728"/>
                    <a:pt x="262929" y="199826"/>
                    <a:pt x="265935" y="202831"/>
                  </a:cubicBezTo>
                  <a:cubicBezTo>
                    <a:pt x="268939" y="205836"/>
                    <a:pt x="272038" y="205742"/>
                    <a:pt x="275231" y="202550"/>
                  </a:cubicBezTo>
                  <a:lnTo>
                    <a:pt x="373829" y="103951"/>
                  </a:lnTo>
                  <a:cubicBezTo>
                    <a:pt x="377022" y="100758"/>
                    <a:pt x="377115" y="97659"/>
                    <a:pt x="374112" y="94655"/>
                  </a:cubicBezTo>
                  <a:cubicBezTo>
                    <a:pt x="372610" y="93152"/>
                    <a:pt x="371083" y="92424"/>
                    <a:pt x="369533" y="92471"/>
                  </a:cubicBezTo>
                  <a:close/>
                  <a:moveTo>
                    <a:pt x="369604" y="54088"/>
                  </a:moveTo>
                  <a:lnTo>
                    <a:pt x="450736" y="135221"/>
                  </a:lnTo>
                  <a:lnTo>
                    <a:pt x="261427" y="324530"/>
                  </a:lnTo>
                  <a:lnTo>
                    <a:pt x="180295" y="324530"/>
                  </a:lnTo>
                  <a:lnTo>
                    <a:pt x="180295" y="243398"/>
                  </a:lnTo>
                  <a:close/>
                  <a:moveTo>
                    <a:pt x="432706" y="2254"/>
                  </a:moveTo>
                  <a:cubicBezTo>
                    <a:pt x="440217" y="2254"/>
                    <a:pt x="446604" y="4883"/>
                    <a:pt x="451863" y="10142"/>
                  </a:cubicBezTo>
                  <a:lnTo>
                    <a:pt x="494683" y="52961"/>
                  </a:lnTo>
                  <a:cubicBezTo>
                    <a:pt x="499940" y="58220"/>
                    <a:pt x="502570" y="64606"/>
                    <a:pt x="502570" y="72118"/>
                  </a:cubicBezTo>
                  <a:cubicBezTo>
                    <a:pt x="502570" y="79630"/>
                    <a:pt x="499940" y="86016"/>
                    <a:pt x="494683" y="91274"/>
                  </a:cubicBezTo>
                  <a:lnTo>
                    <a:pt x="468766" y="117191"/>
                  </a:lnTo>
                  <a:lnTo>
                    <a:pt x="387632" y="36059"/>
                  </a:lnTo>
                  <a:lnTo>
                    <a:pt x="413550" y="10142"/>
                  </a:lnTo>
                  <a:cubicBezTo>
                    <a:pt x="418808" y="4883"/>
                    <a:pt x="425194" y="2254"/>
                    <a:pt x="432706" y="2254"/>
                  </a:cubicBezTo>
                  <a:close/>
                  <a:moveTo>
                    <a:pt x="81133" y="0"/>
                  </a:moveTo>
                  <a:lnTo>
                    <a:pt x="315515" y="0"/>
                  </a:lnTo>
                  <a:cubicBezTo>
                    <a:pt x="327347" y="0"/>
                    <a:pt x="338334" y="2348"/>
                    <a:pt x="348476" y="7043"/>
                  </a:cubicBezTo>
                  <a:cubicBezTo>
                    <a:pt x="351293" y="8357"/>
                    <a:pt x="352983" y="10517"/>
                    <a:pt x="353547" y="13522"/>
                  </a:cubicBezTo>
                  <a:cubicBezTo>
                    <a:pt x="354110" y="16715"/>
                    <a:pt x="353265" y="19438"/>
                    <a:pt x="351011" y="21692"/>
                  </a:cubicBezTo>
                  <a:lnTo>
                    <a:pt x="337207" y="35496"/>
                  </a:lnTo>
                  <a:cubicBezTo>
                    <a:pt x="334577" y="38125"/>
                    <a:pt x="331574" y="38876"/>
                    <a:pt x="328193" y="37749"/>
                  </a:cubicBezTo>
                  <a:cubicBezTo>
                    <a:pt x="323872" y="36622"/>
                    <a:pt x="319647" y="36059"/>
                    <a:pt x="315515" y="36059"/>
                  </a:cubicBezTo>
                  <a:lnTo>
                    <a:pt x="81133" y="36059"/>
                  </a:lnTo>
                  <a:cubicBezTo>
                    <a:pt x="68737" y="36059"/>
                    <a:pt x="58126" y="40472"/>
                    <a:pt x="49299" y="49299"/>
                  </a:cubicBezTo>
                  <a:cubicBezTo>
                    <a:pt x="40472" y="58126"/>
                    <a:pt x="36059" y="68737"/>
                    <a:pt x="36059" y="81133"/>
                  </a:cubicBezTo>
                  <a:lnTo>
                    <a:pt x="36059" y="315515"/>
                  </a:lnTo>
                  <a:cubicBezTo>
                    <a:pt x="36059" y="327911"/>
                    <a:pt x="40472" y="338522"/>
                    <a:pt x="49299" y="347349"/>
                  </a:cubicBezTo>
                  <a:cubicBezTo>
                    <a:pt x="58126" y="356176"/>
                    <a:pt x="68737" y="360589"/>
                    <a:pt x="81133" y="360589"/>
                  </a:cubicBezTo>
                  <a:lnTo>
                    <a:pt x="315515" y="360589"/>
                  </a:lnTo>
                  <a:cubicBezTo>
                    <a:pt x="327911" y="360589"/>
                    <a:pt x="338521" y="356176"/>
                    <a:pt x="347349" y="347349"/>
                  </a:cubicBezTo>
                  <a:cubicBezTo>
                    <a:pt x="356176" y="338522"/>
                    <a:pt x="360589" y="327911"/>
                    <a:pt x="360589" y="315515"/>
                  </a:cubicBezTo>
                  <a:lnTo>
                    <a:pt x="360589" y="280020"/>
                  </a:lnTo>
                  <a:cubicBezTo>
                    <a:pt x="360589" y="277579"/>
                    <a:pt x="361435" y="275513"/>
                    <a:pt x="363125" y="273822"/>
                  </a:cubicBezTo>
                  <a:lnTo>
                    <a:pt x="381154" y="255793"/>
                  </a:lnTo>
                  <a:cubicBezTo>
                    <a:pt x="383972" y="252976"/>
                    <a:pt x="387258" y="252318"/>
                    <a:pt x="391014" y="253821"/>
                  </a:cubicBezTo>
                  <a:cubicBezTo>
                    <a:pt x="394770" y="255323"/>
                    <a:pt x="396649" y="258047"/>
                    <a:pt x="396649" y="261991"/>
                  </a:cubicBezTo>
                  <a:lnTo>
                    <a:pt x="396649" y="315515"/>
                  </a:lnTo>
                  <a:cubicBezTo>
                    <a:pt x="396649" y="337865"/>
                    <a:pt x="388713" y="356974"/>
                    <a:pt x="372843" y="372844"/>
                  </a:cubicBezTo>
                  <a:cubicBezTo>
                    <a:pt x="356973" y="388713"/>
                    <a:pt x="337864" y="396648"/>
                    <a:pt x="315515" y="396648"/>
                  </a:cubicBezTo>
                  <a:lnTo>
                    <a:pt x="81133" y="396648"/>
                  </a:lnTo>
                  <a:cubicBezTo>
                    <a:pt x="58783" y="396648"/>
                    <a:pt x="39674" y="388713"/>
                    <a:pt x="23804" y="372844"/>
                  </a:cubicBezTo>
                  <a:cubicBezTo>
                    <a:pt x="7934" y="356974"/>
                    <a:pt x="0" y="337865"/>
                    <a:pt x="0" y="315515"/>
                  </a:cubicBezTo>
                  <a:lnTo>
                    <a:pt x="0" y="81133"/>
                  </a:lnTo>
                  <a:cubicBezTo>
                    <a:pt x="0" y="58784"/>
                    <a:pt x="7934" y="39674"/>
                    <a:pt x="23804" y="23805"/>
                  </a:cubicBezTo>
                  <a:cubicBezTo>
                    <a:pt x="39674" y="7935"/>
                    <a:pt x="58783" y="0"/>
                    <a:pt x="81133" y="0"/>
                  </a:cubicBezTo>
                  <a:close/>
                </a:path>
              </a:pathLst>
            </a:custGeom>
            <a:solidFill>
              <a:srgbClr val="0E457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34" name="直接连接符 20">
            <a:extLst>
              <a:ext uri="{FF2B5EF4-FFF2-40B4-BE49-F238E27FC236}">
                <a16:creationId xmlns:a16="http://schemas.microsoft.com/office/drawing/2014/main" id="{C186BEE0-6575-433F-BEEC-C2DF10EBAC15}"/>
              </a:ext>
            </a:extLst>
          </p:cNvPr>
          <p:cNvCxnSpPr/>
          <p:nvPr/>
        </p:nvCxnSpPr>
        <p:spPr>
          <a:xfrm>
            <a:off x="839416" y="3257859"/>
            <a:ext cx="10620000" cy="0"/>
          </a:xfrm>
          <a:prstGeom prst="line">
            <a:avLst/>
          </a:prstGeom>
          <a:noFill/>
          <a:ln w="317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cxnSp>
        <p:nvCxnSpPr>
          <p:cNvPr id="35" name="直接连接符 20">
            <a:extLst>
              <a:ext uri="{FF2B5EF4-FFF2-40B4-BE49-F238E27FC236}">
                <a16:creationId xmlns:a16="http://schemas.microsoft.com/office/drawing/2014/main" id="{C186BEE0-6575-433F-BEEC-C2DF10EBAC15}"/>
              </a:ext>
            </a:extLst>
          </p:cNvPr>
          <p:cNvCxnSpPr/>
          <p:nvPr/>
        </p:nvCxnSpPr>
        <p:spPr>
          <a:xfrm>
            <a:off x="839416" y="4698019"/>
            <a:ext cx="10620000" cy="0"/>
          </a:xfrm>
          <a:prstGeom prst="line">
            <a:avLst/>
          </a:prstGeom>
          <a:noFill/>
          <a:ln w="317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639892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0800" y="2422800"/>
            <a:ext cx="4589112" cy="4140000"/>
          </a:xfrm>
          <a:prstGeom prst="rect">
            <a:avLst/>
          </a:prstGeom>
        </p:spPr>
      </p:pic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TW" altLang="en-US" dirty="0">
                <a:latin typeface="微軟正黑體" panose="020B0604030504040204" pitchFamily="34" charset="-120"/>
              </a:rPr>
              <a:t>其他二維</a:t>
            </a:r>
            <a:r>
              <a:rPr lang="zh-TW" altLang="en-US" dirty="0" smtClean="0">
                <a:latin typeface="微軟正黑體" panose="020B0604030504040204" pitchFamily="34" charset="-120"/>
              </a:rPr>
              <a:t>圖形 </a:t>
            </a:r>
            <a:r>
              <a:rPr lang="en-US" altLang="zh-TW" dirty="0" smtClean="0"/>
              <a:t>(4/4</a:t>
            </a:r>
            <a:r>
              <a:rPr lang="en-US" altLang="zh-TW" dirty="0"/>
              <a:t>)</a:t>
            </a:r>
            <a:endParaRPr lang="zh-TW" altLang="zh-TW" dirty="0"/>
          </a:p>
        </p:txBody>
      </p:sp>
      <p:sp>
        <p:nvSpPr>
          <p:cNvPr id="48131" name="投影片編號版面配置區 5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85000" lnSpcReduction="20000"/>
          </a:bodyPr>
          <a:lstStyle/>
          <a:p>
            <a:fld id="{B89D914F-295F-4C2E-8701-5119655D00EA}" type="slidenum">
              <a:rPr lang="zh-TW" altLang="en-US"/>
              <a:pPr/>
              <a:t>20</a:t>
            </a:fld>
            <a:endParaRPr lang="en-US" altLang="zh-TW"/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1659052" y="1839718"/>
            <a:ext cx="9693532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/>
            <a:r>
              <a:rPr lang="zh-TW" altLang="en-US" sz="2000" dirty="0" smtClean="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等高線圖</a:t>
            </a:r>
            <a:r>
              <a:rPr lang="en-US" altLang="zh-TW" sz="2000" b="1" dirty="0" smtClean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(contour</a:t>
            </a:r>
            <a:r>
              <a:rPr lang="en-US" altLang="zh-TW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)</a:t>
            </a:r>
            <a:endParaRPr lang="zh-TW" altLang="en-US" sz="2000" dirty="0">
              <a:solidFill>
                <a:schemeClr val="tx1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0" name="Oval 77"/>
          <p:cNvSpPr>
            <a:spLocks noChangeArrowheads="1"/>
          </p:cNvSpPr>
          <p:nvPr/>
        </p:nvSpPr>
        <p:spPr bwMode="auto">
          <a:xfrm>
            <a:off x="983432" y="184482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/>
            <a:r>
              <a:rPr lang="en-US" altLang="zh-TW" sz="2000" dirty="0" smtClean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4</a:t>
            </a:r>
            <a:endParaRPr lang="en-US" sz="2000" dirty="0">
              <a:solidFill>
                <a:srgbClr val="0E457D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7" name="KSO_Shape"/>
          <p:cNvSpPr>
            <a:spLocks noChangeAspect="1"/>
          </p:cNvSpPr>
          <p:nvPr/>
        </p:nvSpPr>
        <p:spPr bwMode="auto">
          <a:xfrm rot="18286279">
            <a:off x="5084858" y="3862833"/>
            <a:ext cx="694278" cy="745200"/>
          </a:xfrm>
          <a:custGeom>
            <a:avLst/>
            <a:gdLst>
              <a:gd name="T0" fmla="*/ 847238989 w 3580"/>
              <a:gd name="T1" fmla="*/ 847586626 h 3841"/>
              <a:gd name="T2" fmla="*/ 847238989 w 3580"/>
              <a:gd name="T3" fmla="*/ 847586626 h 3841"/>
              <a:gd name="T4" fmla="*/ 847238989 w 3580"/>
              <a:gd name="T5" fmla="*/ 847586626 h 3841"/>
              <a:gd name="T6" fmla="*/ 847238989 w 3580"/>
              <a:gd name="T7" fmla="*/ 847586626 h 3841"/>
              <a:gd name="T8" fmla="*/ 847238989 w 3580"/>
              <a:gd name="T9" fmla="*/ 847586626 h 3841"/>
              <a:gd name="T10" fmla="*/ 847238989 w 3580"/>
              <a:gd name="T11" fmla="*/ 847586626 h 3841"/>
              <a:gd name="T12" fmla="*/ 847238989 w 3580"/>
              <a:gd name="T13" fmla="*/ 847586626 h 3841"/>
              <a:gd name="T14" fmla="*/ 847238989 w 3580"/>
              <a:gd name="T15" fmla="*/ 847586626 h 3841"/>
              <a:gd name="T16" fmla="*/ 847238989 w 3580"/>
              <a:gd name="T17" fmla="*/ 847586626 h 3841"/>
              <a:gd name="T18" fmla="*/ 847238989 w 3580"/>
              <a:gd name="T19" fmla="*/ 847586626 h 3841"/>
              <a:gd name="T20" fmla="*/ 847238989 w 3580"/>
              <a:gd name="T21" fmla="*/ 847586626 h 3841"/>
              <a:gd name="T22" fmla="*/ 847238989 w 3580"/>
              <a:gd name="T23" fmla="*/ 847586626 h 3841"/>
              <a:gd name="T24" fmla="*/ 847238989 w 3580"/>
              <a:gd name="T25" fmla="*/ 847586626 h 3841"/>
              <a:gd name="T26" fmla="*/ 847238989 w 3580"/>
              <a:gd name="T27" fmla="*/ 847586626 h 3841"/>
              <a:gd name="T28" fmla="*/ 847238989 w 3580"/>
              <a:gd name="T29" fmla="*/ 847586626 h 3841"/>
              <a:gd name="T30" fmla="*/ 847238989 w 3580"/>
              <a:gd name="T31" fmla="*/ 847586626 h 3841"/>
              <a:gd name="T32" fmla="*/ 847238989 w 3580"/>
              <a:gd name="T33" fmla="*/ 847586626 h 3841"/>
              <a:gd name="T34" fmla="*/ 847238989 w 3580"/>
              <a:gd name="T35" fmla="*/ 847586626 h 3841"/>
              <a:gd name="T36" fmla="*/ 847238989 w 3580"/>
              <a:gd name="T37" fmla="*/ 847586626 h 3841"/>
              <a:gd name="T38" fmla="*/ 847238989 w 3580"/>
              <a:gd name="T39" fmla="*/ 847586626 h 3841"/>
              <a:gd name="T40" fmla="*/ 847238989 w 3580"/>
              <a:gd name="T41" fmla="*/ 847586626 h 3841"/>
              <a:gd name="T42" fmla="*/ 847238989 w 3580"/>
              <a:gd name="T43" fmla="*/ 847586626 h 3841"/>
              <a:gd name="T44" fmla="*/ 847238989 w 3580"/>
              <a:gd name="T45" fmla="*/ 847586626 h 3841"/>
              <a:gd name="T46" fmla="*/ 847238989 w 3580"/>
              <a:gd name="T47" fmla="*/ 847586626 h 3841"/>
              <a:gd name="T48" fmla="*/ 847238989 w 3580"/>
              <a:gd name="T49" fmla="*/ 847586626 h 3841"/>
              <a:gd name="T50" fmla="*/ 847238989 w 3580"/>
              <a:gd name="T51" fmla="*/ 847586626 h 3841"/>
              <a:gd name="T52" fmla="*/ 847238989 w 3580"/>
              <a:gd name="T53" fmla="*/ 847586626 h 3841"/>
              <a:gd name="T54" fmla="*/ 847238989 w 3580"/>
              <a:gd name="T55" fmla="*/ 847586626 h 3841"/>
              <a:gd name="T56" fmla="*/ 847238989 w 3580"/>
              <a:gd name="T57" fmla="*/ 847586626 h 3841"/>
              <a:gd name="T58" fmla="*/ 847238989 w 3580"/>
              <a:gd name="T59" fmla="*/ 847586626 h 3841"/>
              <a:gd name="T60" fmla="*/ 847238989 w 3580"/>
              <a:gd name="T61" fmla="*/ 847586626 h 3841"/>
              <a:gd name="T62" fmla="*/ 847238989 w 3580"/>
              <a:gd name="T63" fmla="*/ 847586626 h 3841"/>
              <a:gd name="T64" fmla="*/ 847238989 w 3580"/>
              <a:gd name="T65" fmla="*/ 847586626 h 3841"/>
              <a:gd name="T66" fmla="*/ 847238989 w 3580"/>
              <a:gd name="T67" fmla="*/ 847586626 h 3841"/>
              <a:gd name="T68" fmla="*/ 847238989 w 3580"/>
              <a:gd name="T69" fmla="*/ 847586626 h 3841"/>
              <a:gd name="T70" fmla="*/ 847238989 w 3580"/>
              <a:gd name="T71" fmla="*/ 847586626 h 3841"/>
              <a:gd name="T72" fmla="*/ 847238989 w 3580"/>
              <a:gd name="T73" fmla="*/ 847586626 h 3841"/>
              <a:gd name="T74" fmla="*/ 847238989 w 3580"/>
              <a:gd name="T75" fmla="*/ 847586626 h 3841"/>
              <a:gd name="T76" fmla="*/ 847238989 w 3580"/>
              <a:gd name="T77" fmla="*/ 847586626 h 3841"/>
              <a:gd name="T78" fmla="*/ 847238989 w 3580"/>
              <a:gd name="T79" fmla="*/ 847586626 h 3841"/>
              <a:gd name="T80" fmla="*/ 847238989 w 3580"/>
              <a:gd name="T81" fmla="*/ 847586626 h 3841"/>
              <a:gd name="T82" fmla="*/ 847238989 w 3580"/>
              <a:gd name="T83" fmla="*/ 847586626 h 3841"/>
              <a:gd name="T84" fmla="*/ 847238989 w 3580"/>
              <a:gd name="T85" fmla="*/ 847586626 h 3841"/>
              <a:gd name="T86" fmla="*/ 847238989 w 3580"/>
              <a:gd name="T87" fmla="*/ 847586626 h 3841"/>
              <a:gd name="T88" fmla="*/ 847238989 w 3580"/>
              <a:gd name="T89" fmla="*/ 847586626 h 3841"/>
              <a:gd name="T90" fmla="*/ 847238989 w 3580"/>
              <a:gd name="T91" fmla="*/ 847586626 h 3841"/>
              <a:gd name="T92" fmla="*/ 847238989 w 3580"/>
              <a:gd name="T93" fmla="*/ 847586626 h 3841"/>
              <a:gd name="T94" fmla="*/ 847238989 w 3580"/>
              <a:gd name="T95" fmla="*/ 847586626 h 3841"/>
              <a:gd name="T96" fmla="*/ 847238989 w 3580"/>
              <a:gd name="T97" fmla="*/ 847586626 h 3841"/>
              <a:gd name="T98" fmla="*/ 847238989 w 3580"/>
              <a:gd name="T99" fmla="*/ 847586626 h 3841"/>
              <a:gd name="T100" fmla="*/ 847238989 w 3580"/>
              <a:gd name="T101" fmla="*/ 847586626 h 3841"/>
              <a:gd name="T102" fmla="*/ 847238989 w 3580"/>
              <a:gd name="T103" fmla="*/ 847586626 h 3841"/>
              <a:gd name="T104" fmla="*/ 847238989 w 3580"/>
              <a:gd name="T105" fmla="*/ 847586626 h 3841"/>
              <a:gd name="T106" fmla="*/ 847238989 w 3580"/>
              <a:gd name="T107" fmla="*/ 847586626 h 3841"/>
              <a:gd name="T108" fmla="*/ 847238989 w 3580"/>
              <a:gd name="T109" fmla="*/ 847586626 h 3841"/>
              <a:gd name="T110" fmla="*/ 847238989 w 3580"/>
              <a:gd name="T111" fmla="*/ 847586626 h 3841"/>
              <a:gd name="T112" fmla="*/ 847238989 w 3580"/>
              <a:gd name="T113" fmla="*/ 847586626 h 3841"/>
              <a:gd name="T114" fmla="*/ 847238989 w 3580"/>
              <a:gd name="T115" fmla="*/ 847586626 h 3841"/>
              <a:gd name="T116" fmla="*/ 847238989 w 3580"/>
              <a:gd name="T117" fmla="*/ 847586626 h 3841"/>
              <a:gd name="T118" fmla="*/ 847238989 w 3580"/>
              <a:gd name="T119" fmla="*/ 847586626 h 3841"/>
              <a:gd name="T120" fmla="*/ 847238989 w 3580"/>
              <a:gd name="T121" fmla="*/ 847586626 h 3841"/>
              <a:gd name="T122" fmla="*/ 847238989 w 3580"/>
              <a:gd name="T123" fmla="*/ 847586626 h 3841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580" h="3841">
                <a:moveTo>
                  <a:pt x="3580" y="2640"/>
                </a:moveTo>
                <a:lnTo>
                  <a:pt x="3491" y="1718"/>
                </a:lnTo>
                <a:lnTo>
                  <a:pt x="2890" y="2323"/>
                </a:lnTo>
                <a:lnTo>
                  <a:pt x="2881" y="2251"/>
                </a:lnTo>
                <a:lnTo>
                  <a:pt x="2871" y="2180"/>
                </a:lnTo>
                <a:lnTo>
                  <a:pt x="2859" y="2110"/>
                </a:lnTo>
                <a:lnTo>
                  <a:pt x="2846" y="2042"/>
                </a:lnTo>
                <a:lnTo>
                  <a:pt x="2831" y="1974"/>
                </a:lnTo>
                <a:lnTo>
                  <a:pt x="2816" y="1908"/>
                </a:lnTo>
                <a:lnTo>
                  <a:pt x="2799" y="1844"/>
                </a:lnTo>
                <a:lnTo>
                  <a:pt x="2782" y="1780"/>
                </a:lnTo>
                <a:lnTo>
                  <a:pt x="2762" y="1718"/>
                </a:lnTo>
                <a:lnTo>
                  <a:pt x="2742" y="1657"/>
                </a:lnTo>
                <a:lnTo>
                  <a:pt x="2719" y="1597"/>
                </a:lnTo>
                <a:lnTo>
                  <a:pt x="2697" y="1539"/>
                </a:lnTo>
                <a:lnTo>
                  <a:pt x="2672" y="1480"/>
                </a:lnTo>
                <a:lnTo>
                  <a:pt x="2647" y="1424"/>
                </a:lnTo>
                <a:lnTo>
                  <a:pt x="2620" y="1369"/>
                </a:lnTo>
                <a:lnTo>
                  <a:pt x="2592" y="1314"/>
                </a:lnTo>
                <a:lnTo>
                  <a:pt x="2564" y="1262"/>
                </a:lnTo>
                <a:lnTo>
                  <a:pt x="2533" y="1210"/>
                </a:lnTo>
                <a:lnTo>
                  <a:pt x="2501" y="1160"/>
                </a:lnTo>
                <a:lnTo>
                  <a:pt x="2469" y="1110"/>
                </a:lnTo>
                <a:lnTo>
                  <a:pt x="2435" y="1062"/>
                </a:lnTo>
                <a:lnTo>
                  <a:pt x="2401" y="1014"/>
                </a:lnTo>
                <a:lnTo>
                  <a:pt x="2365" y="968"/>
                </a:lnTo>
                <a:lnTo>
                  <a:pt x="2327" y="924"/>
                </a:lnTo>
                <a:lnTo>
                  <a:pt x="2289" y="880"/>
                </a:lnTo>
                <a:lnTo>
                  <a:pt x="2249" y="838"/>
                </a:lnTo>
                <a:lnTo>
                  <a:pt x="2209" y="797"/>
                </a:lnTo>
                <a:lnTo>
                  <a:pt x="2167" y="756"/>
                </a:lnTo>
                <a:lnTo>
                  <a:pt x="2124" y="717"/>
                </a:lnTo>
                <a:lnTo>
                  <a:pt x="2081" y="678"/>
                </a:lnTo>
                <a:lnTo>
                  <a:pt x="2036" y="641"/>
                </a:lnTo>
                <a:lnTo>
                  <a:pt x="1990" y="605"/>
                </a:lnTo>
                <a:lnTo>
                  <a:pt x="1942" y="570"/>
                </a:lnTo>
                <a:lnTo>
                  <a:pt x="1894" y="536"/>
                </a:lnTo>
                <a:lnTo>
                  <a:pt x="1845" y="504"/>
                </a:lnTo>
                <a:lnTo>
                  <a:pt x="1794" y="472"/>
                </a:lnTo>
                <a:lnTo>
                  <a:pt x="1743" y="442"/>
                </a:lnTo>
                <a:lnTo>
                  <a:pt x="1691" y="412"/>
                </a:lnTo>
                <a:lnTo>
                  <a:pt x="1637" y="383"/>
                </a:lnTo>
                <a:lnTo>
                  <a:pt x="1584" y="356"/>
                </a:lnTo>
                <a:lnTo>
                  <a:pt x="1528" y="330"/>
                </a:lnTo>
                <a:lnTo>
                  <a:pt x="1472" y="304"/>
                </a:lnTo>
                <a:lnTo>
                  <a:pt x="1415" y="280"/>
                </a:lnTo>
                <a:lnTo>
                  <a:pt x="1356" y="256"/>
                </a:lnTo>
                <a:lnTo>
                  <a:pt x="1298" y="234"/>
                </a:lnTo>
                <a:lnTo>
                  <a:pt x="1236" y="213"/>
                </a:lnTo>
                <a:lnTo>
                  <a:pt x="1175" y="193"/>
                </a:lnTo>
                <a:lnTo>
                  <a:pt x="1114" y="173"/>
                </a:lnTo>
                <a:lnTo>
                  <a:pt x="1051" y="155"/>
                </a:lnTo>
                <a:lnTo>
                  <a:pt x="987" y="138"/>
                </a:lnTo>
                <a:lnTo>
                  <a:pt x="923" y="122"/>
                </a:lnTo>
                <a:lnTo>
                  <a:pt x="857" y="107"/>
                </a:lnTo>
                <a:lnTo>
                  <a:pt x="790" y="92"/>
                </a:lnTo>
                <a:lnTo>
                  <a:pt x="722" y="78"/>
                </a:lnTo>
                <a:lnTo>
                  <a:pt x="654" y="67"/>
                </a:lnTo>
                <a:lnTo>
                  <a:pt x="584" y="56"/>
                </a:lnTo>
                <a:lnTo>
                  <a:pt x="514" y="45"/>
                </a:lnTo>
                <a:lnTo>
                  <a:pt x="443" y="36"/>
                </a:lnTo>
                <a:lnTo>
                  <a:pt x="371" y="27"/>
                </a:lnTo>
                <a:lnTo>
                  <a:pt x="299" y="20"/>
                </a:lnTo>
                <a:lnTo>
                  <a:pt x="226" y="14"/>
                </a:lnTo>
                <a:lnTo>
                  <a:pt x="151" y="7"/>
                </a:lnTo>
                <a:lnTo>
                  <a:pt x="76" y="4"/>
                </a:lnTo>
                <a:lnTo>
                  <a:pt x="0" y="0"/>
                </a:lnTo>
                <a:lnTo>
                  <a:pt x="99" y="58"/>
                </a:lnTo>
                <a:lnTo>
                  <a:pt x="194" y="118"/>
                </a:lnTo>
                <a:lnTo>
                  <a:pt x="288" y="180"/>
                </a:lnTo>
                <a:lnTo>
                  <a:pt x="377" y="243"/>
                </a:lnTo>
                <a:lnTo>
                  <a:pt x="466" y="305"/>
                </a:lnTo>
                <a:lnTo>
                  <a:pt x="550" y="370"/>
                </a:lnTo>
                <a:lnTo>
                  <a:pt x="633" y="434"/>
                </a:lnTo>
                <a:lnTo>
                  <a:pt x="712" y="502"/>
                </a:lnTo>
                <a:lnTo>
                  <a:pt x="788" y="569"/>
                </a:lnTo>
                <a:lnTo>
                  <a:pt x="862" y="636"/>
                </a:lnTo>
                <a:lnTo>
                  <a:pt x="933" y="706"/>
                </a:lnTo>
                <a:lnTo>
                  <a:pt x="1000" y="777"/>
                </a:lnTo>
                <a:lnTo>
                  <a:pt x="1065" y="848"/>
                </a:lnTo>
                <a:lnTo>
                  <a:pt x="1096" y="884"/>
                </a:lnTo>
                <a:lnTo>
                  <a:pt x="1126" y="920"/>
                </a:lnTo>
                <a:lnTo>
                  <a:pt x="1156" y="957"/>
                </a:lnTo>
                <a:lnTo>
                  <a:pt x="1184" y="993"/>
                </a:lnTo>
                <a:lnTo>
                  <a:pt x="1213" y="1031"/>
                </a:lnTo>
                <a:lnTo>
                  <a:pt x="1240" y="1068"/>
                </a:lnTo>
                <a:lnTo>
                  <a:pt x="1266" y="1105"/>
                </a:lnTo>
                <a:lnTo>
                  <a:pt x="1293" y="1144"/>
                </a:lnTo>
                <a:lnTo>
                  <a:pt x="1317" y="1181"/>
                </a:lnTo>
                <a:lnTo>
                  <a:pt x="1341" y="1220"/>
                </a:lnTo>
                <a:lnTo>
                  <a:pt x="1365" y="1258"/>
                </a:lnTo>
                <a:lnTo>
                  <a:pt x="1387" y="1298"/>
                </a:lnTo>
                <a:lnTo>
                  <a:pt x="1408" y="1337"/>
                </a:lnTo>
                <a:lnTo>
                  <a:pt x="1429" y="1377"/>
                </a:lnTo>
                <a:lnTo>
                  <a:pt x="1449" y="1417"/>
                </a:lnTo>
                <a:lnTo>
                  <a:pt x="1468" y="1456"/>
                </a:lnTo>
                <a:lnTo>
                  <a:pt x="1487" y="1496"/>
                </a:lnTo>
                <a:lnTo>
                  <a:pt x="1504" y="1537"/>
                </a:lnTo>
                <a:lnTo>
                  <a:pt x="1522" y="1577"/>
                </a:lnTo>
                <a:lnTo>
                  <a:pt x="1538" y="1618"/>
                </a:lnTo>
                <a:lnTo>
                  <a:pt x="1553" y="1659"/>
                </a:lnTo>
                <a:lnTo>
                  <a:pt x="1566" y="1702"/>
                </a:lnTo>
                <a:lnTo>
                  <a:pt x="1580" y="1743"/>
                </a:lnTo>
                <a:lnTo>
                  <a:pt x="1593" y="1785"/>
                </a:lnTo>
                <a:lnTo>
                  <a:pt x="1604" y="1827"/>
                </a:lnTo>
                <a:lnTo>
                  <a:pt x="1615" y="1870"/>
                </a:lnTo>
                <a:lnTo>
                  <a:pt x="1625" y="1913"/>
                </a:lnTo>
                <a:lnTo>
                  <a:pt x="1634" y="1956"/>
                </a:lnTo>
                <a:lnTo>
                  <a:pt x="1642" y="1999"/>
                </a:lnTo>
                <a:lnTo>
                  <a:pt x="1650" y="2043"/>
                </a:lnTo>
                <a:lnTo>
                  <a:pt x="1656" y="2088"/>
                </a:lnTo>
                <a:lnTo>
                  <a:pt x="1661" y="2131"/>
                </a:lnTo>
                <a:lnTo>
                  <a:pt x="1666" y="2176"/>
                </a:lnTo>
                <a:lnTo>
                  <a:pt x="1670" y="2221"/>
                </a:lnTo>
                <a:lnTo>
                  <a:pt x="1672" y="2266"/>
                </a:lnTo>
                <a:lnTo>
                  <a:pt x="1675" y="2310"/>
                </a:lnTo>
                <a:lnTo>
                  <a:pt x="1675" y="2357"/>
                </a:lnTo>
                <a:lnTo>
                  <a:pt x="1676" y="2401"/>
                </a:lnTo>
                <a:lnTo>
                  <a:pt x="1017" y="1953"/>
                </a:lnTo>
                <a:lnTo>
                  <a:pt x="1106" y="2876"/>
                </a:lnTo>
                <a:lnTo>
                  <a:pt x="2445" y="3841"/>
                </a:lnTo>
                <a:lnTo>
                  <a:pt x="3580" y="2640"/>
                </a:lnTo>
                <a:close/>
              </a:path>
            </a:pathLst>
          </a:custGeom>
          <a:solidFill>
            <a:srgbClr val="C00000"/>
          </a:solidFill>
          <a:ln w="38100">
            <a:solidFill>
              <a:schemeClr val="bg1"/>
            </a:solidFill>
          </a:ln>
          <a:extLst/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4247" y="3356992"/>
            <a:ext cx="3848100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344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b="1" dirty="0">
                <a:latin typeface="微軟正黑體" panose="020B0604030504040204" pitchFamily="34" charset="-120"/>
              </a:rPr>
              <a:t>產生波型</a:t>
            </a:r>
            <a:r>
              <a:rPr lang="en-US" altLang="zh-TW" b="1" dirty="0">
                <a:latin typeface="微軟正黑體" panose="020B0604030504040204" pitchFamily="34" charset="-120"/>
              </a:rPr>
              <a:t>_</a:t>
            </a:r>
            <a:r>
              <a:rPr lang="zh-TW" altLang="en-US" b="1" dirty="0">
                <a:latin typeface="微軟正黑體" panose="020B0604030504040204" pitchFamily="34" charset="-120"/>
              </a:rPr>
              <a:t>加入白雜訊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pPr>
              <a:defRPr/>
            </a:pPr>
            <a:fld id="{9864C0B4-EC1E-4FC9-B104-936E49C44DDA}" type="slidenum">
              <a:rPr lang="zh-TW" altLang="en-US" smtClean="0"/>
              <a:pPr>
                <a:defRPr/>
              </a:pPr>
              <a:t>21</a:t>
            </a:fld>
            <a:endParaRPr lang="en-US" altLang="zh-TW" dirty="0"/>
          </a:p>
        </p:txBody>
      </p:sp>
      <p:grpSp>
        <p:nvGrpSpPr>
          <p:cNvPr id="24" name="群組 23"/>
          <p:cNvGrpSpPr/>
          <p:nvPr/>
        </p:nvGrpSpPr>
        <p:grpSpPr>
          <a:xfrm>
            <a:off x="983432" y="1839718"/>
            <a:ext cx="2983945" cy="307777"/>
            <a:chOff x="983432" y="1839718"/>
            <a:chExt cx="2983945" cy="307777"/>
          </a:xfrm>
        </p:grpSpPr>
        <p:sp>
          <p:nvSpPr>
            <p:cNvPr id="8" name="Text Placeholder 3"/>
            <p:cNvSpPr txBox="1">
              <a:spLocks/>
            </p:cNvSpPr>
            <p:nvPr/>
          </p:nvSpPr>
          <p:spPr>
            <a:xfrm>
              <a:off x="1659053" y="1839718"/>
              <a:ext cx="2308324" cy="307777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lvl="1"/>
              <a:r>
                <a:rPr lang="zh-TW" altLang="en-US" sz="2000" b="1" dirty="0">
                  <a:solidFill>
                    <a:srgbClr val="0E457D"/>
                  </a:solidFill>
                  <a:latin typeface="Arial" panose="020B0604020202020204" pitchFamily="34" charset="0"/>
                  <a:ea typeface="微軟正黑體" panose="020B0604030504040204" pitchFamily="34" charset="-120"/>
                </a:rPr>
                <a:t>取樣頻率為 </a:t>
              </a:r>
              <a:r>
                <a:rPr lang="en-US" altLang="zh-TW" sz="2000" b="1" dirty="0">
                  <a:solidFill>
                    <a:srgbClr val="0E457D"/>
                  </a:solidFill>
                  <a:latin typeface="Arial" panose="020B0604020202020204" pitchFamily="34" charset="0"/>
                  <a:ea typeface="微軟正黑體" panose="020B0604030504040204" pitchFamily="34" charset="-120"/>
                </a:rPr>
                <a:t>1000 Hz</a:t>
              </a:r>
            </a:p>
          </p:txBody>
        </p:sp>
        <p:sp>
          <p:nvSpPr>
            <p:cNvPr id="9" name="Oval 77"/>
            <p:cNvSpPr>
              <a:spLocks noChangeArrowheads="1"/>
            </p:cNvSpPr>
            <p:nvPr/>
          </p:nvSpPr>
          <p:spPr bwMode="auto">
            <a:xfrm>
              <a:off x="983432" y="1844824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31690"/>
              <a:r>
                <a:rPr lang="en-US" sz="2000" dirty="0" smtClean="0">
                  <a:solidFill>
                    <a:srgbClr val="0E457D"/>
                  </a:solidFill>
                  <a:latin typeface="Arial" panose="020B0604020202020204" pitchFamily="34" charset="0"/>
                  <a:ea typeface="微軟正黑體" panose="020B0604030504040204" pitchFamily="34" charset="-120"/>
                </a:rPr>
                <a:t>1</a:t>
              </a:r>
              <a:endParaRPr lang="en-US" sz="2000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21" name="群組 20"/>
          <p:cNvGrpSpPr/>
          <p:nvPr/>
        </p:nvGrpSpPr>
        <p:grpSpPr>
          <a:xfrm>
            <a:off x="983432" y="2852936"/>
            <a:ext cx="3881627" cy="307777"/>
            <a:chOff x="983432" y="3076446"/>
            <a:chExt cx="3881627" cy="307777"/>
          </a:xfrm>
        </p:grpSpPr>
        <p:sp>
          <p:nvSpPr>
            <p:cNvPr id="11" name="Text Placeholder 3"/>
            <p:cNvSpPr txBox="1">
              <a:spLocks/>
            </p:cNvSpPr>
            <p:nvPr/>
          </p:nvSpPr>
          <p:spPr>
            <a:xfrm>
              <a:off x="1659053" y="3076446"/>
              <a:ext cx="3206006" cy="307777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lvl="1"/>
              <a:r>
                <a:rPr lang="zh-TW" altLang="en-US" sz="2000" b="1" dirty="0">
                  <a:solidFill>
                    <a:srgbClr val="0E457D"/>
                  </a:solidFill>
                  <a:latin typeface="Arial" panose="020B0604020202020204" pitchFamily="34" charset="0"/>
                  <a:ea typeface="微軟正黑體" panose="020B0604030504040204" pitchFamily="34" charset="-120"/>
                </a:rPr>
                <a:t>產生兩個正弦波組成的訊號</a:t>
              </a:r>
              <a:r>
                <a:rPr lang="en-US" altLang="zh-TW" sz="2000" b="1" dirty="0">
                  <a:solidFill>
                    <a:srgbClr val="0E457D"/>
                  </a:solidFill>
                  <a:latin typeface="Arial" panose="020B0604020202020204" pitchFamily="34" charset="0"/>
                  <a:ea typeface="微軟正黑體" panose="020B0604030504040204" pitchFamily="34" charset="-120"/>
                </a:rPr>
                <a:t>y</a:t>
              </a:r>
            </a:p>
          </p:txBody>
        </p:sp>
        <p:sp>
          <p:nvSpPr>
            <p:cNvPr id="12" name="Oval 77"/>
            <p:cNvSpPr>
              <a:spLocks noChangeArrowheads="1"/>
            </p:cNvSpPr>
            <p:nvPr/>
          </p:nvSpPr>
          <p:spPr bwMode="auto">
            <a:xfrm>
              <a:off x="983432" y="3081552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31690"/>
              <a:r>
                <a:rPr lang="en-US" sz="2000" dirty="0" smtClean="0">
                  <a:solidFill>
                    <a:srgbClr val="0E457D"/>
                  </a:solidFill>
                  <a:latin typeface="Arial" panose="020B0604020202020204" pitchFamily="34" charset="0"/>
                  <a:ea typeface="微軟正黑體" panose="020B0604030504040204" pitchFamily="34" charset="-120"/>
                </a:rPr>
                <a:t>2</a:t>
              </a:r>
              <a:endParaRPr lang="en-US" sz="2000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22" name="群組 21"/>
          <p:cNvGrpSpPr/>
          <p:nvPr/>
        </p:nvGrpSpPr>
        <p:grpSpPr>
          <a:xfrm>
            <a:off x="983432" y="4221088"/>
            <a:ext cx="2214504" cy="307777"/>
            <a:chOff x="983432" y="4551010"/>
            <a:chExt cx="2214504" cy="307777"/>
          </a:xfrm>
        </p:grpSpPr>
        <p:sp>
          <p:nvSpPr>
            <p:cNvPr id="14" name="Text Placeholder 3"/>
            <p:cNvSpPr txBox="1">
              <a:spLocks/>
            </p:cNvSpPr>
            <p:nvPr/>
          </p:nvSpPr>
          <p:spPr>
            <a:xfrm>
              <a:off x="1659053" y="4551010"/>
              <a:ext cx="1538883" cy="307777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lvl="1"/>
              <a:r>
                <a:rPr lang="zh-TW" altLang="en-US" sz="2000" b="1" dirty="0">
                  <a:solidFill>
                    <a:srgbClr val="0E457D"/>
                  </a:solidFill>
                  <a:latin typeface="Arial" panose="020B0604020202020204" pitchFamily="34" charset="0"/>
                  <a:ea typeface="微軟正黑體" panose="020B0604030504040204" pitchFamily="34" charset="-120"/>
                </a:rPr>
                <a:t>將白雜訊加入</a:t>
              </a:r>
            </a:p>
          </p:txBody>
        </p:sp>
        <p:sp>
          <p:nvSpPr>
            <p:cNvPr id="15" name="Oval 77"/>
            <p:cNvSpPr>
              <a:spLocks noChangeArrowheads="1"/>
            </p:cNvSpPr>
            <p:nvPr/>
          </p:nvSpPr>
          <p:spPr bwMode="auto">
            <a:xfrm>
              <a:off x="983432" y="4556116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31690"/>
              <a:r>
                <a:rPr lang="en-US" sz="2000" dirty="0" smtClean="0">
                  <a:solidFill>
                    <a:srgbClr val="0E457D"/>
                  </a:solidFill>
                  <a:latin typeface="Arial" panose="020B0604020202020204" pitchFamily="34" charset="0"/>
                  <a:ea typeface="微軟正黑體" panose="020B0604030504040204" pitchFamily="34" charset="-120"/>
                </a:rPr>
                <a:t>3</a:t>
              </a:r>
              <a:endParaRPr lang="en-US" sz="2000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23" name="群組 22"/>
          <p:cNvGrpSpPr/>
          <p:nvPr/>
        </p:nvGrpSpPr>
        <p:grpSpPr>
          <a:xfrm>
            <a:off x="983432" y="5589240"/>
            <a:ext cx="3012799" cy="307777"/>
            <a:chOff x="983432" y="5589240"/>
            <a:chExt cx="3012799" cy="307777"/>
          </a:xfrm>
        </p:grpSpPr>
        <p:sp>
          <p:nvSpPr>
            <p:cNvPr id="17" name="Text Placeholder 3"/>
            <p:cNvSpPr txBox="1">
              <a:spLocks/>
            </p:cNvSpPr>
            <p:nvPr/>
          </p:nvSpPr>
          <p:spPr>
            <a:xfrm>
              <a:off x="1659053" y="5589240"/>
              <a:ext cx="2337178" cy="307777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lvl="1"/>
              <a:r>
                <a:rPr lang="zh-TW" altLang="en-US" sz="2000" b="1" dirty="0">
                  <a:solidFill>
                    <a:srgbClr val="0E457D"/>
                  </a:solidFill>
                  <a:latin typeface="Arial" panose="020B0604020202020204" pitchFamily="34" charset="0"/>
                  <a:ea typeface="微軟正黑體" panose="020B0604030504040204" pitchFamily="34" charset="-120"/>
                </a:rPr>
                <a:t>畫出前</a:t>
              </a:r>
              <a:r>
                <a:rPr lang="en-US" altLang="zh-TW" sz="2000" b="1" dirty="0">
                  <a:solidFill>
                    <a:srgbClr val="0E457D"/>
                  </a:solidFill>
                  <a:latin typeface="Arial" panose="020B0604020202020204" pitchFamily="34" charset="0"/>
                  <a:ea typeface="微軟正黑體" panose="020B0604030504040204" pitchFamily="34" charset="-120"/>
                </a:rPr>
                <a:t>50</a:t>
              </a:r>
              <a:r>
                <a:rPr lang="zh-TW" altLang="en-US" sz="2000" b="1" dirty="0">
                  <a:solidFill>
                    <a:srgbClr val="0E457D"/>
                  </a:solidFill>
                  <a:latin typeface="Arial" panose="020B0604020202020204" pitchFamily="34" charset="0"/>
                  <a:ea typeface="微軟正黑體" panose="020B0604030504040204" pitchFamily="34" charset="-120"/>
                </a:rPr>
                <a:t>個點的圖形</a:t>
              </a:r>
            </a:p>
          </p:txBody>
        </p:sp>
        <p:sp>
          <p:nvSpPr>
            <p:cNvPr id="18" name="Oval 77"/>
            <p:cNvSpPr>
              <a:spLocks noChangeArrowheads="1"/>
            </p:cNvSpPr>
            <p:nvPr/>
          </p:nvSpPr>
          <p:spPr bwMode="auto">
            <a:xfrm>
              <a:off x="983432" y="5594346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31690"/>
              <a:r>
                <a:rPr lang="en-US" sz="2000" dirty="0" smtClean="0">
                  <a:solidFill>
                    <a:srgbClr val="0E457D"/>
                  </a:solidFill>
                  <a:latin typeface="Arial" panose="020B0604020202020204" pitchFamily="34" charset="0"/>
                  <a:ea typeface="微軟正黑體" panose="020B0604030504040204" pitchFamily="34" charset="-120"/>
                </a:rPr>
                <a:t>4</a:t>
              </a:r>
              <a:endParaRPr lang="en-US" sz="2000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</p:grpSp>
      <p:pic>
        <p:nvPicPr>
          <p:cNvPr id="4" name="圖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3553" y="2260153"/>
            <a:ext cx="5616624" cy="509085"/>
          </a:xfrm>
          <a:prstGeom prst="rect">
            <a:avLst/>
          </a:prstGeom>
        </p:spPr>
      </p:pic>
      <p:pic>
        <p:nvPicPr>
          <p:cNvPr id="5" name="圖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7197" y="3244411"/>
            <a:ext cx="6120680" cy="928468"/>
          </a:xfrm>
          <a:prstGeom prst="rect">
            <a:avLst/>
          </a:prstGeom>
        </p:spPr>
      </p:pic>
      <p:pic>
        <p:nvPicPr>
          <p:cNvPr id="6" name="圖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91544" y="4647542"/>
            <a:ext cx="6134100" cy="895350"/>
          </a:xfrm>
          <a:prstGeom prst="rect">
            <a:avLst/>
          </a:prstGeom>
        </p:spPr>
      </p:pic>
      <p:pic>
        <p:nvPicPr>
          <p:cNvPr id="7" name="圖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63553" y="6017555"/>
            <a:ext cx="3800475" cy="5143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>
                <a:latin typeface="微軟正黑體" panose="020B0604030504040204" pitchFamily="34" charset="-120"/>
              </a:rPr>
              <a:t>產生常用序列</a:t>
            </a:r>
            <a:endParaRPr lang="zh-TW" altLang="en-US" b="1" dirty="0">
              <a:latin typeface="微軟正黑體" panose="020B0604030504040204" pitchFamily="34" charset="-120"/>
            </a:endParaRP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pPr>
              <a:defRPr/>
            </a:pPr>
            <a:fld id="{9864C0B4-EC1E-4FC9-B104-936E49C44DDA}" type="slidenum">
              <a:rPr lang="zh-TW" altLang="en-US" smtClean="0"/>
              <a:pPr>
                <a:defRPr/>
              </a:pPr>
              <a:t>22</a:t>
            </a:fld>
            <a:endParaRPr lang="en-US" altLang="zh-TW" dirty="0"/>
          </a:p>
        </p:txBody>
      </p:sp>
      <p:grpSp>
        <p:nvGrpSpPr>
          <p:cNvPr id="24" name="群組 23"/>
          <p:cNvGrpSpPr/>
          <p:nvPr/>
        </p:nvGrpSpPr>
        <p:grpSpPr>
          <a:xfrm>
            <a:off x="983432" y="1839718"/>
            <a:ext cx="1701543" cy="307777"/>
            <a:chOff x="983432" y="1839718"/>
            <a:chExt cx="1701543" cy="307777"/>
          </a:xfrm>
        </p:grpSpPr>
        <p:sp>
          <p:nvSpPr>
            <p:cNvPr id="8" name="Text Placeholder 3"/>
            <p:cNvSpPr txBox="1">
              <a:spLocks/>
            </p:cNvSpPr>
            <p:nvPr/>
          </p:nvSpPr>
          <p:spPr>
            <a:xfrm>
              <a:off x="1659053" y="1839718"/>
              <a:ext cx="1025922" cy="307777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lvl="1"/>
              <a:r>
                <a:rPr lang="zh-TW" altLang="en-US" sz="2000" b="1" dirty="0">
                  <a:solidFill>
                    <a:srgbClr val="0E457D"/>
                  </a:solidFill>
                  <a:latin typeface="Arial" panose="020B0604020202020204" pitchFamily="34" charset="0"/>
                  <a:ea typeface="微軟正黑體" panose="020B0604030504040204" pitchFamily="34" charset="-120"/>
                </a:rPr>
                <a:t>常用序列</a:t>
              </a:r>
              <a:endParaRPr lang="en-US" altLang="zh-TW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" name="Oval 77"/>
            <p:cNvSpPr>
              <a:spLocks noChangeArrowheads="1"/>
            </p:cNvSpPr>
            <p:nvPr/>
          </p:nvSpPr>
          <p:spPr bwMode="auto">
            <a:xfrm>
              <a:off x="983432" y="1844824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31690"/>
              <a:r>
                <a:rPr lang="en-US" sz="2000" dirty="0" smtClean="0">
                  <a:solidFill>
                    <a:srgbClr val="0E457D"/>
                  </a:solidFill>
                  <a:latin typeface="Arial" panose="020B0604020202020204" pitchFamily="34" charset="0"/>
                  <a:ea typeface="微軟正黑體" panose="020B0604030504040204" pitchFamily="34" charset="-120"/>
                </a:rPr>
                <a:t>1</a:t>
              </a:r>
              <a:endParaRPr lang="en-US" sz="2000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22" name="群組 21"/>
          <p:cNvGrpSpPr/>
          <p:nvPr/>
        </p:nvGrpSpPr>
        <p:grpSpPr>
          <a:xfrm>
            <a:off x="983432" y="4221088"/>
            <a:ext cx="2214504" cy="307777"/>
            <a:chOff x="983432" y="4551010"/>
            <a:chExt cx="2214504" cy="307777"/>
          </a:xfrm>
        </p:grpSpPr>
        <p:sp>
          <p:nvSpPr>
            <p:cNvPr id="14" name="Text Placeholder 3"/>
            <p:cNvSpPr txBox="1">
              <a:spLocks/>
            </p:cNvSpPr>
            <p:nvPr/>
          </p:nvSpPr>
          <p:spPr>
            <a:xfrm>
              <a:off x="1659053" y="4551010"/>
              <a:ext cx="1538883" cy="307777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lvl="1"/>
              <a:r>
                <a:rPr lang="zh-TW" altLang="en-US" sz="2000" b="1" dirty="0">
                  <a:solidFill>
                    <a:srgbClr val="0E457D"/>
                  </a:solidFill>
                  <a:latin typeface="Arial" panose="020B0604020202020204" pitchFamily="34" charset="0"/>
                  <a:ea typeface="微軟正黑體" panose="020B0604030504040204" pitchFamily="34" charset="-120"/>
                </a:rPr>
                <a:t>週期波型函數</a:t>
              </a:r>
            </a:p>
          </p:txBody>
        </p:sp>
        <p:sp>
          <p:nvSpPr>
            <p:cNvPr id="15" name="Oval 77"/>
            <p:cNvSpPr>
              <a:spLocks noChangeArrowheads="1"/>
            </p:cNvSpPr>
            <p:nvPr/>
          </p:nvSpPr>
          <p:spPr bwMode="auto">
            <a:xfrm>
              <a:off x="983432" y="4556116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31690"/>
              <a:r>
                <a:rPr lang="en-US" sz="2000" dirty="0" smtClean="0">
                  <a:solidFill>
                    <a:srgbClr val="0E457D"/>
                  </a:solidFill>
                  <a:latin typeface="Arial" panose="020B0604020202020204" pitchFamily="34" charset="0"/>
                  <a:ea typeface="微軟正黑體" panose="020B0604030504040204" pitchFamily="34" charset="-120"/>
                </a:rPr>
                <a:t>2</a:t>
              </a:r>
              <a:endParaRPr lang="en-US" sz="2000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</p:grpSp>
      <p:pic>
        <p:nvPicPr>
          <p:cNvPr id="4" name="圖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1544" y="2305467"/>
            <a:ext cx="5760640" cy="1558068"/>
          </a:xfrm>
          <a:prstGeom prst="rect">
            <a:avLst/>
          </a:prstGeom>
        </p:spPr>
      </p:pic>
      <p:pic>
        <p:nvPicPr>
          <p:cNvPr id="5" name="圖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6613" y="4949802"/>
            <a:ext cx="5904656" cy="845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077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>
                <a:latin typeface="微軟正黑體" panose="020B0604030504040204" pitchFamily="34" charset="-120"/>
              </a:rPr>
              <a:t>產生鋸齒波與方波</a:t>
            </a:r>
            <a:endParaRPr lang="zh-TW" altLang="en-US" b="1" dirty="0">
              <a:latin typeface="微軟正黑體" panose="020B0604030504040204" pitchFamily="34" charset="-120"/>
            </a:endParaRP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pPr>
              <a:defRPr/>
            </a:pPr>
            <a:fld id="{9864C0B4-EC1E-4FC9-B104-936E49C44DDA}" type="slidenum">
              <a:rPr lang="zh-TW" altLang="en-US" smtClean="0"/>
              <a:pPr>
                <a:defRPr/>
              </a:pPr>
              <a:t>23</a:t>
            </a:fld>
            <a:endParaRPr lang="en-US" altLang="zh-TW" dirty="0"/>
          </a:p>
        </p:txBody>
      </p:sp>
      <p:grpSp>
        <p:nvGrpSpPr>
          <p:cNvPr id="24" name="群組 23"/>
          <p:cNvGrpSpPr/>
          <p:nvPr/>
        </p:nvGrpSpPr>
        <p:grpSpPr>
          <a:xfrm>
            <a:off x="983432" y="1839718"/>
            <a:ext cx="8212941" cy="307777"/>
            <a:chOff x="983432" y="1839718"/>
            <a:chExt cx="8212941" cy="307777"/>
          </a:xfrm>
        </p:grpSpPr>
        <p:sp>
          <p:nvSpPr>
            <p:cNvPr id="8" name="Text Placeholder 3"/>
            <p:cNvSpPr txBox="1">
              <a:spLocks/>
            </p:cNvSpPr>
            <p:nvPr/>
          </p:nvSpPr>
          <p:spPr>
            <a:xfrm>
              <a:off x="1659053" y="1839718"/>
              <a:ext cx="7537320" cy="307777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lvl="1"/>
              <a:r>
                <a:rPr lang="en-US" altLang="zh-TW" sz="2000" dirty="0">
                  <a:latin typeface="Arial" panose="020B0604020202020204" pitchFamily="34" charset="0"/>
                  <a:ea typeface="微軟正黑體" panose="020B0604030504040204" pitchFamily="34" charset="-120"/>
                </a:rPr>
                <a:t>1.5 </a:t>
              </a:r>
              <a:r>
                <a:rPr lang="zh-TW" altLang="en-US" sz="2000" dirty="0">
                  <a:latin typeface="Arial" panose="020B0604020202020204" pitchFamily="34" charset="0"/>
                  <a:ea typeface="微軟正黑體" panose="020B0604030504040204" pitchFamily="34" charset="-120"/>
                </a:rPr>
                <a:t>秒內產生頻率為 </a:t>
              </a:r>
              <a:r>
                <a:rPr lang="en-US" altLang="zh-TW" sz="2000" dirty="0">
                  <a:latin typeface="Arial" panose="020B0604020202020204" pitchFamily="34" charset="0"/>
                  <a:ea typeface="微軟正黑體" panose="020B0604030504040204" pitchFamily="34" charset="-120"/>
                </a:rPr>
                <a:t>50Hz </a:t>
              </a:r>
              <a:r>
                <a:rPr lang="zh-TW" altLang="en-US" sz="2000" dirty="0">
                  <a:latin typeface="Arial" panose="020B0604020202020204" pitchFamily="34" charset="0"/>
                  <a:ea typeface="微軟正黑體" panose="020B0604030504040204" pitchFamily="34" charset="-120"/>
                </a:rPr>
                <a:t>的鋸齒波與方波，其中取樣速率為</a:t>
              </a:r>
              <a:r>
                <a:rPr lang="en-US" altLang="zh-TW" sz="2000" dirty="0">
                  <a:latin typeface="Arial" panose="020B0604020202020204" pitchFamily="34" charset="0"/>
                  <a:ea typeface="微軟正黑體" panose="020B0604030504040204" pitchFamily="34" charset="-120"/>
                </a:rPr>
                <a:t>10kHz</a:t>
              </a:r>
            </a:p>
          </p:txBody>
        </p:sp>
        <p:sp>
          <p:nvSpPr>
            <p:cNvPr id="9" name="Oval 77"/>
            <p:cNvSpPr>
              <a:spLocks noChangeArrowheads="1"/>
            </p:cNvSpPr>
            <p:nvPr/>
          </p:nvSpPr>
          <p:spPr bwMode="auto">
            <a:xfrm>
              <a:off x="983432" y="1844824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31690"/>
              <a:r>
                <a:rPr lang="zh-TW" altLang="en-US" sz="2000" dirty="0" smtClean="0">
                  <a:solidFill>
                    <a:srgbClr val="0E457D"/>
                  </a:solidFill>
                  <a:latin typeface="Arial" panose="020B0604020202020204" pitchFamily="34" charset="0"/>
                  <a:ea typeface="微軟正黑體" panose="020B0604030504040204" pitchFamily="34" charset="-120"/>
                </a:rPr>
                <a:t>★</a:t>
              </a:r>
              <a:endParaRPr lang="en-US" sz="2000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</p:grpSp>
      <p:pic>
        <p:nvPicPr>
          <p:cNvPr id="4" name="圖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3552" y="2492896"/>
            <a:ext cx="5688632" cy="1473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5510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altLang="zh-TW" dirty="0"/>
              <a:t>load</a:t>
            </a:r>
            <a:r>
              <a:rPr lang="zh-TW" altLang="en-US" dirty="0"/>
              <a:t>指令</a:t>
            </a:r>
            <a:endParaRPr lang="zh-TW" altLang="zh-TW" dirty="0"/>
          </a:p>
        </p:txBody>
      </p:sp>
      <p:sp>
        <p:nvSpPr>
          <p:cNvPr id="48131" name="投影片編號版面配置區 5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85000" lnSpcReduction="20000"/>
          </a:bodyPr>
          <a:lstStyle/>
          <a:p>
            <a:fld id="{B89D914F-295F-4C2E-8701-5119655D00EA}" type="slidenum">
              <a:rPr lang="zh-TW" altLang="en-US"/>
              <a:pPr/>
              <a:t>24</a:t>
            </a:fld>
            <a:endParaRPr lang="en-US" altLang="zh-TW"/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1659052" y="1839718"/>
            <a:ext cx="7677307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indent="-274320">
              <a:buSzPct val="58000"/>
              <a:defRPr/>
            </a:pPr>
            <a:r>
              <a:rPr lang="en-US" altLang="zh-TW" sz="2000" b="1" dirty="0" smtClean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data1.txt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內有資料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x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與資料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y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，用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load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載入，並使用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plot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繪圖</a:t>
            </a:r>
          </a:p>
        </p:txBody>
      </p:sp>
      <p:sp>
        <p:nvSpPr>
          <p:cNvPr id="10" name="Oval 77"/>
          <p:cNvSpPr>
            <a:spLocks noChangeArrowheads="1"/>
          </p:cNvSpPr>
          <p:nvPr/>
        </p:nvSpPr>
        <p:spPr bwMode="auto">
          <a:xfrm>
            <a:off x="983432" y="184482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/>
            <a:r>
              <a:rPr lang="zh-TW" altLang="en-US" sz="2000" dirty="0" smtClean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★</a:t>
            </a:r>
            <a:endParaRPr lang="en-US" sz="2000" dirty="0">
              <a:solidFill>
                <a:srgbClr val="0E457D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pic>
        <p:nvPicPr>
          <p:cNvPr id="3" name="圖片 2"/>
          <p:cNvPicPr>
            <a:picLocks noChangeAspect="1"/>
          </p:cNvPicPr>
          <p:nvPr/>
        </p:nvPicPr>
        <p:blipFill rotWithShape="1">
          <a:blip r:embed="rId2"/>
          <a:srcRect l="-1" r="85052" b="66510"/>
          <a:stretch/>
        </p:blipFill>
        <p:spPr>
          <a:xfrm>
            <a:off x="4511824" y="2768013"/>
            <a:ext cx="2423854" cy="286356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圖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85805" y="2348880"/>
            <a:ext cx="4589112" cy="4140000"/>
          </a:xfrm>
          <a:prstGeom prst="rect">
            <a:avLst/>
          </a:prstGeom>
        </p:spPr>
      </p:pic>
      <p:sp>
        <p:nvSpPr>
          <p:cNvPr id="18" name="KSO_Shape"/>
          <p:cNvSpPr>
            <a:spLocks noChangeAspect="1"/>
          </p:cNvSpPr>
          <p:nvPr/>
        </p:nvSpPr>
        <p:spPr bwMode="auto">
          <a:xfrm rot="18286279">
            <a:off x="6838667" y="3626054"/>
            <a:ext cx="694278" cy="745200"/>
          </a:xfrm>
          <a:custGeom>
            <a:avLst/>
            <a:gdLst>
              <a:gd name="T0" fmla="*/ 847238989 w 3580"/>
              <a:gd name="T1" fmla="*/ 847586626 h 3841"/>
              <a:gd name="T2" fmla="*/ 847238989 w 3580"/>
              <a:gd name="T3" fmla="*/ 847586626 h 3841"/>
              <a:gd name="T4" fmla="*/ 847238989 w 3580"/>
              <a:gd name="T5" fmla="*/ 847586626 h 3841"/>
              <a:gd name="T6" fmla="*/ 847238989 w 3580"/>
              <a:gd name="T7" fmla="*/ 847586626 h 3841"/>
              <a:gd name="T8" fmla="*/ 847238989 w 3580"/>
              <a:gd name="T9" fmla="*/ 847586626 h 3841"/>
              <a:gd name="T10" fmla="*/ 847238989 w 3580"/>
              <a:gd name="T11" fmla="*/ 847586626 h 3841"/>
              <a:gd name="T12" fmla="*/ 847238989 w 3580"/>
              <a:gd name="T13" fmla="*/ 847586626 h 3841"/>
              <a:gd name="T14" fmla="*/ 847238989 w 3580"/>
              <a:gd name="T15" fmla="*/ 847586626 h 3841"/>
              <a:gd name="T16" fmla="*/ 847238989 w 3580"/>
              <a:gd name="T17" fmla="*/ 847586626 h 3841"/>
              <a:gd name="T18" fmla="*/ 847238989 w 3580"/>
              <a:gd name="T19" fmla="*/ 847586626 h 3841"/>
              <a:gd name="T20" fmla="*/ 847238989 w 3580"/>
              <a:gd name="T21" fmla="*/ 847586626 h 3841"/>
              <a:gd name="T22" fmla="*/ 847238989 w 3580"/>
              <a:gd name="T23" fmla="*/ 847586626 h 3841"/>
              <a:gd name="T24" fmla="*/ 847238989 w 3580"/>
              <a:gd name="T25" fmla="*/ 847586626 h 3841"/>
              <a:gd name="T26" fmla="*/ 847238989 w 3580"/>
              <a:gd name="T27" fmla="*/ 847586626 h 3841"/>
              <a:gd name="T28" fmla="*/ 847238989 w 3580"/>
              <a:gd name="T29" fmla="*/ 847586626 h 3841"/>
              <a:gd name="T30" fmla="*/ 847238989 w 3580"/>
              <a:gd name="T31" fmla="*/ 847586626 h 3841"/>
              <a:gd name="T32" fmla="*/ 847238989 w 3580"/>
              <a:gd name="T33" fmla="*/ 847586626 h 3841"/>
              <a:gd name="T34" fmla="*/ 847238989 w 3580"/>
              <a:gd name="T35" fmla="*/ 847586626 h 3841"/>
              <a:gd name="T36" fmla="*/ 847238989 w 3580"/>
              <a:gd name="T37" fmla="*/ 847586626 h 3841"/>
              <a:gd name="T38" fmla="*/ 847238989 w 3580"/>
              <a:gd name="T39" fmla="*/ 847586626 h 3841"/>
              <a:gd name="T40" fmla="*/ 847238989 w 3580"/>
              <a:gd name="T41" fmla="*/ 847586626 h 3841"/>
              <a:gd name="T42" fmla="*/ 847238989 w 3580"/>
              <a:gd name="T43" fmla="*/ 847586626 h 3841"/>
              <a:gd name="T44" fmla="*/ 847238989 w 3580"/>
              <a:gd name="T45" fmla="*/ 847586626 h 3841"/>
              <a:gd name="T46" fmla="*/ 847238989 w 3580"/>
              <a:gd name="T47" fmla="*/ 847586626 h 3841"/>
              <a:gd name="T48" fmla="*/ 847238989 w 3580"/>
              <a:gd name="T49" fmla="*/ 847586626 h 3841"/>
              <a:gd name="T50" fmla="*/ 847238989 w 3580"/>
              <a:gd name="T51" fmla="*/ 847586626 h 3841"/>
              <a:gd name="T52" fmla="*/ 847238989 w 3580"/>
              <a:gd name="T53" fmla="*/ 847586626 h 3841"/>
              <a:gd name="T54" fmla="*/ 847238989 w 3580"/>
              <a:gd name="T55" fmla="*/ 847586626 h 3841"/>
              <a:gd name="T56" fmla="*/ 847238989 w 3580"/>
              <a:gd name="T57" fmla="*/ 847586626 h 3841"/>
              <a:gd name="T58" fmla="*/ 847238989 w 3580"/>
              <a:gd name="T59" fmla="*/ 847586626 h 3841"/>
              <a:gd name="T60" fmla="*/ 847238989 w 3580"/>
              <a:gd name="T61" fmla="*/ 847586626 h 3841"/>
              <a:gd name="T62" fmla="*/ 847238989 w 3580"/>
              <a:gd name="T63" fmla="*/ 847586626 h 3841"/>
              <a:gd name="T64" fmla="*/ 847238989 w 3580"/>
              <a:gd name="T65" fmla="*/ 847586626 h 3841"/>
              <a:gd name="T66" fmla="*/ 847238989 w 3580"/>
              <a:gd name="T67" fmla="*/ 847586626 h 3841"/>
              <a:gd name="T68" fmla="*/ 847238989 w 3580"/>
              <a:gd name="T69" fmla="*/ 847586626 h 3841"/>
              <a:gd name="T70" fmla="*/ 847238989 w 3580"/>
              <a:gd name="T71" fmla="*/ 847586626 h 3841"/>
              <a:gd name="T72" fmla="*/ 847238989 w 3580"/>
              <a:gd name="T73" fmla="*/ 847586626 h 3841"/>
              <a:gd name="T74" fmla="*/ 847238989 w 3580"/>
              <a:gd name="T75" fmla="*/ 847586626 h 3841"/>
              <a:gd name="T76" fmla="*/ 847238989 w 3580"/>
              <a:gd name="T77" fmla="*/ 847586626 h 3841"/>
              <a:gd name="T78" fmla="*/ 847238989 w 3580"/>
              <a:gd name="T79" fmla="*/ 847586626 h 3841"/>
              <a:gd name="T80" fmla="*/ 847238989 w 3580"/>
              <a:gd name="T81" fmla="*/ 847586626 h 3841"/>
              <a:gd name="T82" fmla="*/ 847238989 w 3580"/>
              <a:gd name="T83" fmla="*/ 847586626 h 3841"/>
              <a:gd name="T84" fmla="*/ 847238989 w 3580"/>
              <a:gd name="T85" fmla="*/ 847586626 h 3841"/>
              <a:gd name="T86" fmla="*/ 847238989 w 3580"/>
              <a:gd name="T87" fmla="*/ 847586626 h 3841"/>
              <a:gd name="T88" fmla="*/ 847238989 w 3580"/>
              <a:gd name="T89" fmla="*/ 847586626 h 3841"/>
              <a:gd name="T90" fmla="*/ 847238989 w 3580"/>
              <a:gd name="T91" fmla="*/ 847586626 h 3841"/>
              <a:gd name="T92" fmla="*/ 847238989 w 3580"/>
              <a:gd name="T93" fmla="*/ 847586626 h 3841"/>
              <a:gd name="T94" fmla="*/ 847238989 w 3580"/>
              <a:gd name="T95" fmla="*/ 847586626 h 3841"/>
              <a:gd name="T96" fmla="*/ 847238989 w 3580"/>
              <a:gd name="T97" fmla="*/ 847586626 h 3841"/>
              <a:gd name="T98" fmla="*/ 847238989 w 3580"/>
              <a:gd name="T99" fmla="*/ 847586626 h 3841"/>
              <a:gd name="T100" fmla="*/ 847238989 w 3580"/>
              <a:gd name="T101" fmla="*/ 847586626 h 3841"/>
              <a:gd name="T102" fmla="*/ 847238989 w 3580"/>
              <a:gd name="T103" fmla="*/ 847586626 h 3841"/>
              <a:gd name="T104" fmla="*/ 847238989 w 3580"/>
              <a:gd name="T105" fmla="*/ 847586626 h 3841"/>
              <a:gd name="T106" fmla="*/ 847238989 w 3580"/>
              <a:gd name="T107" fmla="*/ 847586626 h 3841"/>
              <a:gd name="T108" fmla="*/ 847238989 w 3580"/>
              <a:gd name="T109" fmla="*/ 847586626 h 3841"/>
              <a:gd name="T110" fmla="*/ 847238989 w 3580"/>
              <a:gd name="T111" fmla="*/ 847586626 h 3841"/>
              <a:gd name="T112" fmla="*/ 847238989 w 3580"/>
              <a:gd name="T113" fmla="*/ 847586626 h 3841"/>
              <a:gd name="T114" fmla="*/ 847238989 w 3580"/>
              <a:gd name="T115" fmla="*/ 847586626 h 3841"/>
              <a:gd name="T116" fmla="*/ 847238989 w 3580"/>
              <a:gd name="T117" fmla="*/ 847586626 h 3841"/>
              <a:gd name="T118" fmla="*/ 847238989 w 3580"/>
              <a:gd name="T119" fmla="*/ 847586626 h 3841"/>
              <a:gd name="T120" fmla="*/ 847238989 w 3580"/>
              <a:gd name="T121" fmla="*/ 847586626 h 3841"/>
              <a:gd name="T122" fmla="*/ 847238989 w 3580"/>
              <a:gd name="T123" fmla="*/ 847586626 h 3841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580" h="3841">
                <a:moveTo>
                  <a:pt x="3580" y="2640"/>
                </a:moveTo>
                <a:lnTo>
                  <a:pt x="3491" y="1718"/>
                </a:lnTo>
                <a:lnTo>
                  <a:pt x="2890" y="2323"/>
                </a:lnTo>
                <a:lnTo>
                  <a:pt x="2881" y="2251"/>
                </a:lnTo>
                <a:lnTo>
                  <a:pt x="2871" y="2180"/>
                </a:lnTo>
                <a:lnTo>
                  <a:pt x="2859" y="2110"/>
                </a:lnTo>
                <a:lnTo>
                  <a:pt x="2846" y="2042"/>
                </a:lnTo>
                <a:lnTo>
                  <a:pt x="2831" y="1974"/>
                </a:lnTo>
                <a:lnTo>
                  <a:pt x="2816" y="1908"/>
                </a:lnTo>
                <a:lnTo>
                  <a:pt x="2799" y="1844"/>
                </a:lnTo>
                <a:lnTo>
                  <a:pt x="2782" y="1780"/>
                </a:lnTo>
                <a:lnTo>
                  <a:pt x="2762" y="1718"/>
                </a:lnTo>
                <a:lnTo>
                  <a:pt x="2742" y="1657"/>
                </a:lnTo>
                <a:lnTo>
                  <a:pt x="2719" y="1597"/>
                </a:lnTo>
                <a:lnTo>
                  <a:pt x="2697" y="1539"/>
                </a:lnTo>
                <a:lnTo>
                  <a:pt x="2672" y="1480"/>
                </a:lnTo>
                <a:lnTo>
                  <a:pt x="2647" y="1424"/>
                </a:lnTo>
                <a:lnTo>
                  <a:pt x="2620" y="1369"/>
                </a:lnTo>
                <a:lnTo>
                  <a:pt x="2592" y="1314"/>
                </a:lnTo>
                <a:lnTo>
                  <a:pt x="2564" y="1262"/>
                </a:lnTo>
                <a:lnTo>
                  <a:pt x="2533" y="1210"/>
                </a:lnTo>
                <a:lnTo>
                  <a:pt x="2501" y="1160"/>
                </a:lnTo>
                <a:lnTo>
                  <a:pt x="2469" y="1110"/>
                </a:lnTo>
                <a:lnTo>
                  <a:pt x="2435" y="1062"/>
                </a:lnTo>
                <a:lnTo>
                  <a:pt x="2401" y="1014"/>
                </a:lnTo>
                <a:lnTo>
                  <a:pt x="2365" y="968"/>
                </a:lnTo>
                <a:lnTo>
                  <a:pt x="2327" y="924"/>
                </a:lnTo>
                <a:lnTo>
                  <a:pt x="2289" y="880"/>
                </a:lnTo>
                <a:lnTo>
                  <a:pt x="2249" y="838"/>
                </a:lnTo>
                <a:lnTo>
                  <a:pt x="2209" y="797"/>
                </a:lnTo>
                <a:lnTo>
                  <a:pt x="2167" y="756"/>
                </a:lnTo>
                <a:lnTo>
                  <a:pt x="2124" y="717"/>
                </a:lnTo>
                <a:lnTo>
                  <a:pt x="2081" y="678"/>
                </a:lnTo>
                <a:lnTo>
                  <a:pt x="2036" y="641"/>
                </a:lnTo>
                <a:lnTo>
                  <a:pt x="1990" y="605"/>
                </a:lnTo>
                <a:lnTo>
                  <a:pt x="1942" y="570"/>
                </a:lnTo>
                <a:lnTo>
                  <a:pt x="1894" y="536"/>
                </a:lnTo>
                <a:lnTo>
                  <a:pt x="1845" y="504"/>
                </a:lnTo>
                <a:lnTo>
                  <a:pt x="1794" y="472"/>
                </a:lnTo>
                <a:lnTo>
                  <a:pt x="1743" y="442"/>
                </a:lnTo>
                <a:lnTo>
                  <a:pt x="1691" y="412"/>
                </a:lnTo>
                <a:lnTo>
                  <a:pt x="1637" y="383"/>
                </a:lnTo>
                <a:lnTo>
                  <a:pt x="1584" y="356"/>
                </a:lnTo>
                <a:lnTo>
                  <a:pt x="1528" y="330"/>
                </a:lnTo>
                <a:lnTo>
                  <a:pt x="1472" y="304"/>
                </a:lnTo>
                <a:lnTo>
                  <a:pt x="1415" y="280"/>
                </a:lnTo>
                <a:lnTo>
                  <a:pt x="1356" y="256"/>
                </a:lnTo>
                <a:lnTo>
                  <a:pt x="1298" y="234"/>
                </a:lnTo>
                <a:lnTo>
                  <a:pt x="1236" y="213"/>
                </a:lnTo>
                <a:lnTo>
                  <a:pt x="1175" y="193"/>
                </a:lnTo>
                <a:lnTo>
                  <a:pt x="1114" y="173"/>
                </a:lnTo>
                <a:lnTo>
                  <a:pt x="1051" y="155"/>
                </a:lnTo>
                <a:lnTo>
                  <a:pt x="987" y="138"/>
                </a:lnTo>
                <a:lnTo>
                  <a:pt x="923" y="122"/>
                </a:lnTo>
                <a:lnTo>
                  <a:pt x="857" y="107"/>
                </a:lnTo>
                <a:lnTo>
                  <a:pt x="790" y="92"/>
                </a:lnTo>
                <a:lnTo>
                  <a:pt x="722" y="78"/>
                </a:lnTo>
                <a:lnTo>
                  <a:pt x="654" y="67"/>
                </a:lnTo>
                <a:lnTo>
                  <a:pt x="584" y="56"/>
                </a:lnTo>
                <a:lnTo>
                  <a:pt x="514" y="45"/>
                </a:lnTo>
                <a:lnTo>
                  <a:pt x="443" y="36"/>
                </a:lnTo>
                <a:lnTo>
                  <a:pt x="371" y="27"/>
                </a:lnTo>
                <a:lnTo>
                  <a:pt x="299" y="20"/>
                </a:lnTo>
                <a:lnTo>
                  <a:pt x="226" y="14"/>
                </a:lnTo>
                <a:lnTo>
                  <a:pt x="151" y="7"/>
                </a:lnTo>
                <a:lnTo>
                  <a:pt x="76" y="4"/>
                </a:lnTo>
                <a:lnTo>
                  <a:pt x="0" y="0"/>
                </a:lnTo>
                <a:lnTo>
                  <a:pt x="99" y="58"/>
                </a:lnTo>
                <a:lnTo>
                  <a:pt x="194" y="118"/>
                </a:lnTo>
                <a:lnTo>
                  <a:pt x="288" y="180"/>
                </a:lnTo>
                <a:lnTo>
                  <a:pt x="377" y="243"/>
                </a:lnTo>
                <a:lnTo>
                  <a:pt x="466" y="305"/>
                </a:lnTo>
                <a:lnTo>
                  <a:pt x="550" y="370"/>
                </a:lnTo>
                <a:lnTo>
                  <a:pt x="633" y="434"/>
                </a:lnTo>
                <a:lnTo>
                  <a:pt x="712" y="502"/>
                </a:lnTo>
                <a:lnTo>
                  <a:pt x="788" y="569"/>
                </a:lnTo>
                <a:lnTo>
                  <a:pt x="862" y="636"/>
                </a:lnTo>
                <a:lnTo>
                  <a:pt x="933" y="706"/>
                </a:lnTo>
                <a:lnTo>
                  <a:pt x="1000" y="777"/>
                </a:lnTo>
                <a:lnTo>
                  <a:pt x="1065" y="848"/>
                </a:lnTo>
                <a:lnTo>
                  <a:pt x="1096" y="884"/>
                </a:lnTo>
                <a:lnTo>
                  <a:pt x="1126" y="920"/>
                </a:lnTo>
                <a:lnTo>
                  <a:pt x="1156" y="957"/>
                </a:lnTo>
                <a:lnTo>
                  <a:pt x="1184" y="993"/>
                </a:lnTo>
                <a:lnTo>
                  <a:pt x="1213" y="1031"/>
                </a:lnTo>
                <a:lnTo>
                  <a:pt x="1240" y="1068"/>
                </a:lnTo>
                <a:lnTo>
                  <a:pt x="1266" y="1105"/>
                </a:lnTo>
                <a:lnTo>
                  <a:pt x="1293" y="1144"/>
                </a:lnTo>
                <a:lnTo>
                  <a:pt x="1317" y="1181"/>
                </a:lnTo>
                <a:lnTo>
                  <a:pt x="1341" y="1220"/>
                </a:lnTo>
                <a:lnTo>
                  <a:pt x="1365" y="1258"/>
                </a:lnTo>
                <a:lnTo>
                  <a:pt x="1387" y="1298"/>
                </a:lnTo>
                <a:lnTo>
                  <a:pt x="1408" y="1337"/>
                </a:lnTo>
                <a:lnTo>
                  <a:pt x="1429" y="1377"/>
                </a:lnTo>
                <a:lnTo>
                  <a:pt x="1449" y="1417"/>
                </a:lnTo>
                <a:lnTo>
                  <a:pt x="1468" y="1456"/>
                </a:lnTo>
                <a:lnTo>
                  <a:pt x="1487" y="1496"/>
                </a:lnTo>
                <a:lnTo>
                  <a:pt x="1504" y="1537"/>
                </a:lnTo>
                <a:lnTo>
                  <a:pt x="1522" y="1577"/>
                </a:lnTo>
                <a:lnTo>
                  <a:pt x="1538" y="1618"/>
                </a:lnTo>
                <a:lnTo>
                  <a:pt x="1553" y="1659"/>
                </a:lnTo>
                <a:lnTo>
                  <a:pt x="1566" y="1702"/>
                </a:lnTo>
                <a:lnTo>
                  <a:pt x="1580" y="1743"/>
                </a:lnTo>
                <a:lnTo>
                  <a:pt x="1593" y="1785"/>
                </a:lnTo>
                <a:lnTo>
                  <a:pt x="1604" y="1827"/>
                </a:lnTo>
                <a:lnTo>
                  <a:pt x="1615" y="1870"/>
                </a:lnTo>
                <a:lnTo>
                  <a:pt x="1625" y="1913"/>
                </a:lnTo>
                <a:lnTo>
                  <a:pt x="1634" y="1956"/>
                </a:lnTo>
                <a:lnTo>
                  <a:pt x="1642" y="1999"/>
                </a:lnTo>
                <a:lnTo>
                  <a:pt x="1650" y="2043"/>
                </a:lnTo>
                <a:lnTo>
                  <a:pt x="1656" y="2088"/>
                </a:lnTo>
                <a:lnTo>
                  <a:pt x="1661" y="2131"/>
                </a:lnTo>
                <a:lnTo>
                  <a:pt x="1666" y="2176"/>
                </a:lnTo>
                <a:lnTo>
                  <a:pt x="1670" y="2221"/>
                </a:lnTo>
                <a:lnTo>
                  <a:pt x="1672" y="2266"/>
                </a:lnTo>
                <a:lnTo>
                  <a:pt x="1675" y="2310"/>
                </a:lnTo>
                <a:lnTo>
                  <a:pt x="1675" y="2357"/>
                </a:lnTo>
                <a:lnTo>
                  <a:pt x="1676" y="2401"/>
                </a:lnTo>
                <a:lnTo>
                  <a:pt x="1017" y="1953"/>
                </a:lnTo>
                <a:lnTo>
                  <a:pt x="1106" y="2876"/>
                </a:lnTo>
                <a:lnTo>
                  <a:pt x="2445" y="3841"/>
                </a:lnTo>
                <a:lnTo>
                  <a:pt x="3580" y="2640"/>
                </a:lnTo>
                <a:close/>
              </a:path>
            </a:pathLst>
          </a:custGeom>
          <a:solidFill>
            <a:srgbClr val="C00000"/>
          </a:solidFill>
          <a:ln w="38100">
            <a:solidFill>
              <a:schemeClr val="bg1"/>
            </a:solidFill>
          </a:ln>
          <a:extLst/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" name="內容版面配置區 1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endParaRPr lang="zh-TW" altLang="en-US" dirty="0"/>
          </a:p>
        </p:txBody>
      </p:sp>
      <p:pic>
        <p:nvPicPr>
          <p:cNvPr id="5" name="圖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8247" y="3413708"/>
            <a:ext cx="2840636" cy="141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461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TW" altLang="en-US" dirty="0"/>
              <a:t>具標頭檔案之讀取</a:t>
            </a:r>
            <a:endParaRPr lang="zh-TW" altLang="zh-TW" dirty="0"/>
          </a:p>
        </p:txBody>
      </p:sp>
      <p:sp>
        <p:nvSpPr>
          <p:cNvPr id="48131" name="投影片編號版面配置區 5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85000" lnSpcReduction="20000"/>
          </a:bodyPr>
          <a:lstStyle/>
          <a:p>
            <a:fld id="{B89D914F-295F-4C2E-8701-5119655D00EA}" type="slidenum">
              <a:rPr lang="zh-TW" altLang="en-US"/>
              <a:pPr/>
              <a:t>25</a:t>
            </a:fld>
            <a:endParaRPr lang="en-US" altLang="zh-TW"/>
          </a:p>
        </p:txBody>
      </p:sp>
      <p:pic>
        <p:nvPicPr>
          <p:cNvPr id="3" name="圖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48128" y="2420888"/>
            <a:ext cx="4320480" cy="2710363"/>
          </a:xfrm>
          <a:prstGeom prst="rect">
            <a:avLst/>
          </a:prstGeom>
        </p:spPr>
      </p:pic>
      <p:sp>
        <p:nvSpPr>
          <p:cNvPr id="2" name="內容版面配置區 1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endParaRPr lang="zh-TW" altLang="en-US"/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5520" y="2429685"/>
            <a:ext cx="5081283" cy="2770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72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TW" altLang="en-US" dirty="0"/>
              <a:t>儲存所有的變數</a:t>
            </a:r>
            <a:endParaRPr lang="zh-TW" altLang="zh-TW" dirty="0"/>
          </a:p>
        </p:txBody>
      </p:sp>
      <p:sp>
        <p:nvSpPr>
          <p:cNvPr id="48131" name="投影片編號版面配置區 5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85000" lnSpcReduction="20000"/>
          </a:bodyPr>
          <a:lstStyle/>
          <a:p>
            <a:fld id="{B89D914F-295F-4C2E-8701-5119655D00EA}" type="slidenum">
              <a:rPr lang="zh-TW" altLang="en-US"/>
              <a:pPr/>
              <a:t>26</a:t>
            </a:fld>
            <a:endParaRPr lang="en-US" altLang="zh-TW"/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1659052" y="1839718"/>
            <a:ext cx="9621524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indent="-274320">
              <a:buSzPct val="58000"/>
              <a:defRPr/>
            </a:pPr>
            <a:r>
              <a:rPr lang="en-US" altLang="zh-TW" sz="2000" b="1" dirty="0" smtClean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save</a:t>
            </a:r>
            <a:r>
              <a:rPr lang="zh-TW" altLang="en-US" sz="2000" dirty="0" smtClean="0">
                <a:latin typeface="Arial" panose="020B0604020202020204" pitchFamily="34" charset="0"/>
                <a:ea typeface="微軟正黑體" panose="020B0604030504040204" pitchFamily="34" charset="-120"/>
              </a:rPr>
              <a:t>：把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所有變數</a:t>
            </a:r>
            <a:r>
              <a:rPr lang="zh-TW" altLang="en-US" sz="2000" dirty="0" smtClean="0">
                <a:latin typeface="Arial" panose="020B0604020202020204" pitchFamily="34" charset="0"/>
                <a:ea typeface="微軟正黑體" panose="020B0604030504040204" pitchFamily="34" charset="-120"/>
              </a:rPr>
              <a:t>儲存。</a:t>
            </a:r>
            <a:endParaRPr lang="en-US" altLang="zh-TW" sz="2000" dirty="0" smtClean="0"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0" name="Oval 77"/>
          <p:cNvSpPr>
            <a:spLocks noChangeArrowheads="1"/>
          </p:cNvSpPr>
          <p:nvPr/>
        </p:nvSpPr>
        <p:spPr bwMode="auto">
          <a:xfrm>
            <a:off x="983432" y="184482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/>
            <a:r>
              <a:rPr lang="zh-TW" altLang="en-US" sz="2000" dirty="0" smtClean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★</a:t>
            </a:r>
            <a:endParaRPr lang="en-US" sz="2000" dirty="0">
              <a:solidFill>
                <a:srgbClr val="0E457D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pic>
        <p:nvPicPr>
          <p:cNvPr id="5" name="圖片 4"/>
          <p:cNvPicPr>
            <a:picLocks noChangeAspect="1"/>
          </p:cNvPicPr>
          <p:nvPr/>
        </p:nvPicPr>
        <p:blipFill rotWithShape="1">
          <a:blip r:embed="rId2"/>
          <a:srcRect r="45207" b="17011"/>
          <a:stretch/>
        </p:blipFill>
        <p:spPr>
          <a:xfrm>
            <a:off x="5303912" y="1739554"/>
            <a:ext cx="6438068" cy="485779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7" name="向下箭號 3"/>
          <p:cNvSpPr/>
          <p:nvPr/>
        </p:nvSpPr>
        <p:spPr>
          <a:xfrm rot="1270561">
            <a:off x="6543907" y="3530193"/>
            <a:ext cx="271336" cy="587136"/>
          </a:xfrm>
          <a:custGeom>
            <a:avLst/>
            <a:gdLst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103838 w 415352"/>
              <a:gd name="connsiteY2" fmla="*/ 0 h 864096"/>
              <a:gd name="connsiteX3" fmla="*/ 311514 w 415352"/>
              <a:gd name="connsiteY3" fmla="*/ 0 h 864096"/>
              <a:gd name="connsiteX4" fmla="*/ 311514 w 415352"/>
              <a:gd name="connsiteY4" fmla="*/ 551643 h 864096"/>
              <a:gd name="connsiteX5" fmla="*/ 415352 w 415352"/>
              <a:gd name="connsiteY5" fmla="*/ 551643 h 864096"/>
              <a:gd name="connsiteX6" fmla="*/ 207676 w 415352"/>
              <a:gd name="connsiteY6" fmla="*/ 864096 h 864096"/>
              <a:gd name="connsiteX7" fmla="*/ 0 w 415352"/>
              <a:gd name="connsiteY7" fmla="*/ 551643 h 864096"/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311514 w 415352"/>
              <a:gd name="connsiteY2" fmla="*/ 0 h 864096"/>
              <a:gd name="connsiteX3" fmla="*/ 311514 w 415352"/>
              <a:gd name="connsiteY3" fmla="*/ 551643 h 864096"/>
              <a:gd name="connsiteX4" fmla="*/ 415352 w 415352"/>
              <a:gd name="connsiteY4" fmla="*/ 551643 h 864096"/>
              <a:gd name="connsiteX5" fmla="*/ 207676 w 415352"/>
              <a:gd name="connsiteY5" fmla="*/ 864096 h 864096"/>
              <a:gd name="connsiteX6" fmla="*/ 0 w 415352"/>
              <a:gd name="connsiteY6" fmla="*/ 551643 h 864096"/>
              <a:gd name="connsiteX0" fmla="*/ 0 w 415352"/>
              <a:gd name="connsiteY0" fmla="*/ 570693 h 883146"/>
              <a:gd name="connsiteX1" fmla="*/ 103838 w 415352"/>
              <a:gd name="connsiteY1" fmla="*/ 570693 h 883146"/>
              <a:gd name="connsiteX2" fmla="*/ 216264 w 415352"/>
              <a:gd name="connsiteY2" fmla="*/ 0 h 883146"/>
              <a:gd name="connsiteX3" fmla="*/ 311514 w 415352"/>
              <a:gd name="connsiteY3" fmla="*/ 570693 h 883146"/>
              <a:gd name="connsiteX4" fmla="*/ 415352 w 415352"/>
              <a:gd name="connsiteY4" fmla="*/ 570693 h 883146"/>
              <a:gd name="connsiteX5" fmla="*/ 207676 w 415352"/>
              <a:gd name="connsiteY5" fmla="*/ 883146 h 883146"/>
              <a:gd name="connsiteX6" fmla="*/ 0 w 415352"/>
              <a:gd name="connsiteY6" fmla="*/ 570693 h 88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5352" h="883146">
                <a:moveTo>
                  <a:pt x="0" y="570693"/>
                </a:moveTo>
                <a:lnTo>
                  <a:pt x="103838" y="570693"/>
                </a:lnTo>
                <a:lnTo>
                  <a:pt x="216264" y="0"/>
                </a:lnTo>
                <a:lnTo>
                  <a:pt x="311514" y="570693"/>
                </a:lnTo>
                <a:lnTo>
                  <a:pt x="415352" y="570693"/>
                </a:lnTo>
                <a:lnTo>
                  <a:pt x="207676" y="883146"/>
                </a:lnTo>
                <a:lnTo>
                  <a:pt x="0" y="570693"/>
                </a:lnTo>
                <a:close/>
              </a:path>
            </a:pathLst>
          </a:cu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9" name="向下箭號 3"/>
          <p:cNvSpPr/>
          <p:nvPr/>
        </p:nvSpPr>
        <p:spPr>
          <a:xfrm rot="18698169">
            <a:off x="5168244" y="4800025"/>
            <a:ext cx="271336" cy="587136"/>
          </a:xfrm>
          <a:custGeom>
            <a:avLst/>
            <a:gdLst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103838 w 415352"/>
              <a:gd name="connsiteY2" fmla="*/ 0 h 864096"/>
              <a:gd name="connsiteX3" fmla="*/ 311514 w 415352"/>
              <a:gd name="connsiteY3" fmla="*/ 0 h 864096"/>
              <a:gd name="connsiteX4" fmla="*/ 311514 w 415352"/>
              <a:gd name="connsiteY4" fmla="*/ 551643 h 864096"/>
              <a:gd name="connsiteX5" fmla="*/ 415352 w 415352"/>
              <a:gd name="connsiteY5" fmla="*/ 551643 h 864096"/>
              <a:gd name="connsiteX6" fmla="*/ 207676 w 415352"/>
              <a:gd name="connsiteY6" fmla="*/ 864096 h 864096"/>
              <a:gd name="connsiteX7" fmla="*/ 0 w 415352"/>
              <a:gd name="connsiteY7" fmla="*/ 551643 h 864096"/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311514 w 415352"/>
              <a:gd name="connsiteY2" fmla="*/ 0 h 864096"/>
              <a:gd name="connsiteX3" fmla="*/ 311514 w 415352"/>
              <a:gd name="connsiteY3" fmla="*/ 551643 h 864096"/>
              <a:gd name="connsiteX4" fmla="*/ 415352 w 415352"/>
              <a:gd name="connsiteY4" fmla="*/ 551643 h 864096"/>
              <a:gd name="connsiteX5" fmla="*/ 207676 w 415352"/>
              <a:gd name="connsiteY5" fmla="*/ 864096 h 864096"/>
              <a:gd name="connsiteX6" fmla="*/ 0 w 415352"/>
              <a:gd name="connsiteY6" fmla="*/ 551643 h 864096"/>
              <a:gd name="connsiteX0" fmla="*/ 0 w 415352"/>
              <a:gd name="connsiteY0" fmla="*/ 570693 h 883146"/>
              <a:gd name="connsiteX1" fmla="*/ 103838 w 415352"/>
              <a:gd name="connsiteY1" fmla="*/ 570693 h 883146"/>
              <a:gd name="connsiteX2" fmla="*/ 216264 w 415352"/>
              <a:gd name="connsiteY2" fmla="*/ 0 h 883146"/>
              <a:gd name="connsiteX3" fmla="*/ 311514 w 415352"/>
              <a:gd name="connsiteY3" fmla="*/ 570693 h 883146"/>
              <a:gd name="connsiteX4" fmla="*/ 415352 w 415352"/>
              <a:gd name="connsiteY4" fmla="*/ 570693 h 883146"/>
              <a:gd name="connsiteX5" fmla="*/ 207676 w 415352"/>
              <a:gd name="connsiteY5" fmla="*/ 883146 h 883146"/>
              <a:gd name="connsiteX6" fmla="*/ 0 w 415352"/>
              <a:gd name="connsiteY6" fmla="*/ 570693 h 88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5352" h="883146">
                <a:moveTo>
                  <a:pt x="0" y="570693"/>
                </a:moveTo>
                <a:lnTo>
                  <a:pt x="103838" y="570693"/>
                </a:lnTo>
                <a:lnTo>
                  <a:pt x="216264" y="0"/>
                </a:lnTo>
                <a:lnTo>
                  <a:pt x="311514" y="570693"/>
                </a:lnTo>
                <a:lnTo>
                  <a:pt x="415352" y="570693"/>
                </a:lnTo>
                <a:lnTo>
                  <a:pt x="207676" y="883146"/>
                </a:lnTo>
                <a:lnTo>
                  <a:pt x="0" y="570693"/>
                </a:lnTo>
                <a:close/>
              </a:path>
            </a:pathLst>
          </a:cu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0" name="Text Box 7"/>
          <p:cNvSpPr txBox="1">
            <a:spLocks noChangeArrowheads="1"/>
          </p:cNvSpPr>
          <p:nvPr/>
        </p:nvSpPr>
        <p:spPr bwMode="auto">
          <a:xfrm>
            <a:off x="911424" y="4973106"/>
            <a:ext cx="4012921" cy="400110"/>
          </a:xfrm>
          <a:prstGeom prst="rect">
            <a:avLst/>
          </a:prstGeom>
          <a:solidFill>
            <a:schemeClr val="bg1">
              <a:alpha val="85000"/>
            </a:schemeClr>
          </a:solidFill>
          <a:ln w="12700" cap="sq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ctr"/>
            <a:r>
              <a:rPr lang="zh-TW" altLang="en-US" sz="2000" b="1" dirty="0" smtClean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將所有變數儲存進</a:t>
            </a:r>
            <a:r>
              <a:rPr lang="en-US" altLang="zh-TW" sz="2000" b="1" dirty="0" err="1" smtClean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allvalues.mat</a:t>
            </a:r>
            <a:endParaRPr lang="en-US" altLang="zh-TW" sz="2000" b="1" dirty="0">
              <a:solidFill>
                <a:srgbClr val="CE4C4B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2" name="內容版面配置區 1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endParaRPr lang="zh-TW" altLang="en-US"/>
          </a:p>
        </p:txBody>
      </p:sp>
      <p:pic>
        <p:nvPicPr>
          <p:cNvPr id="3" name="圖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4247" y="2807183"/>
            <a:ext cx="3346002" cy="178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607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其餘指令</a:t>
            </a:r>
            <a:r>
              <a:rPr lang="zh-TW" altLang="en-US" dirty="0" smtClean="0"/>
              <a:t>補充 </a:t>
            </a:r>
            <a:r>
              <a:rPr lang="en-US" altLang="zh-TW" dirty="0" smtClean="0"/>
              <a:t>(1/2)</a:t>
            </a:r>
            <a:endParaRPr lang="zh-TW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pPr>
              <a:defRPr/>
            </a:pPr>
            <a:fld id="{9864C0B4-EC1E-4FC9-B104-936E49C44DDA}" type="slidenum">
              <a:rPr lang="zh-TW" altLang="en-US" smtClean="0"/>
              <a:pPr>
                <a:defRPr/>
              </a:pPr>
              <a:t>27</a:t>
            </a:fld>
            <a:endParaRPr lang="en-US" altLang="zh-TW" dirty="0"/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1659053" y="1839718"/>
            <a:ext cx="7232749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/>
            <a:r>
              <a:rPr lang="en-US" altLang="zh-TW" sz="2000" b="1" dirty="0" err="1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importdata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 :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此指令可將欲讀取的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data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裡的</a:t>
            </a:r>
            <a:r>
              <a:rPr lang="en-US" altLang="zh-TW" sz="2000" dirty="0" err="1">
                <a:latin typeface="Arial" panose="020B0604020202020204" pitchFamily="34" charset="0"/>
                <a:ea typeface="微軟正黑體" panose="020B0604030504040204" pitchFamily="34" charset="-120"/>
              </a:rPr>
              <a:t>ASCii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碼和數	字分類</a:t>
            </a:r>
          </a:p>
        </p:txBody>
      </p:sp>
      <p:sp>
        <p:nvSpPr>
          <p:cNvPr id="7" name="Text Placeholder 3"/>
          <p:cNvSpPr txBox="1">
            <a:spLocks/>
          </p:cNvSpPr>
          <p:nvPr/>
        </p:nvSpPr>
        <p:spPr>
          <a:xfrm>
            <a:off x="1659053" y="2492896"/>
            <a:ext cx="9113072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/>
            <a:r>
              <a:rPr lang="en-US" altLang="zh-TW" sz="2000" b="1" dirty="0" err="1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fopen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 :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開啟檔案，其語法為</a:t>
            </a:r>
            <a:r>
              <a:rPr lang="en-US" altLang="zh-TW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fid=</a:t>
            </a:r>
            <a:r>
              <a:rPr lang="en-US" altLang="zh-TW" sz="2000" b="1" dirty="0" err="1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fopen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‘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檔名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.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格式’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,‘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參	數’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)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，參數種類如下表</a:t>
            </a:r>
          </a:p>
        </p:txBody>
      </p:sp>
      <p:sp>
        <p:nvSpPr>
          <p:cNvPr id="8" name="Oval 77"/>
          <p:cNvSpPr>
            <a:spLocks noChangeArrowheads="1"/>
          </p:cNvSpPr>
          <p:nvPr/>
        </p:nvSpPr>
        <p:spPr bwMode="auto">
          <a:xfrm>
            <a:off x="983432" y="184482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/>
            <a:r>
              <a:rPr lang="en-US" sz="2000" dirty="0" smtClean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1</a:t>
            </a:r>
            <a:endParaRPr lang="en-US" sz="2000" dirty="0">
              <a:solidFill>
                <a:srgbClr val="0E457D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9" name="Oval 77"/>
          <p:cNvSpPr>
            <a:spLocks noChangeArrowheads="1"/>
          </p:cNvSpPr>
          <p:nvPr/>
        </p:nvSpPr>
        <p:spPr bwMode="auto">
          <a:xfrm>
            <a:off x="983432" y="2465210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/>
            <a:r>
              <a:rPr lang="en-US" sz="2000" dirty="0" smtClean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2</a:t>
            </a:r>
            <a:endParaRPr lang="en-US" sz="2000" dirty="0">
              <a:solidFill>
                <a:srgbClr val="0E457D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graphicFrame>
        <p:nvGraphicFramePr>
          <p:cNvPr id="11" name="表格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9590337"/>
              </p:ext>
            </p:extLst>
          </p:nvPr>
        </p:nvGraphicFramePr>
        <p:xfrm>
          <a:off x="1659053" y="3086501"/>
          <a:ext cx="9981563" cy="2748280"/>
        </p:xfrm>
        <a:graphic>
          <a:graphicData uri="http://schemas.openxmlformats.org/drawingml/2006/table">
            <a:tbl>
              <a:tblPr firstRow="1"/>
              <a:tblGrid>
                <a:gridCol w="1124579">
                  <a:extLst>
                    <a:ext uri="{9D8B030D-6E8A-4147-A177-3AD203B41FA5}">
                      <a16:colId xmlns:a16="http://schemas.microsoft.com/office/drawing/2014/main" val="2866711560"/>
                    </a:ext>
                  </a:extLst>
                </a:gridCol>
                <a:gridCol w="2952328">
                  <a:extLst>
                    <a:ext uri="{9D8B030D-6E8A-4147-A177-3AD203B41FA5}">
                      <a16:colId xmlns:a16="http://schemas.microsoft.com/office/drawing/2014/main" val="2332704388"/>
                    </a:ext>
                  </a:extLst>
                </a:gridCol>
                <a:gridCol w="2952328">
                  <a:extLst>
                    <a:ext uri="{9D8B030D-6E8A-4147-A177-3AD203B41FA5}">
                      <a16:colId xmlns:a16="http://schemas.microsoft.com/office/drawing/2014/main" val="133126623"/>
                    </a:ext>
                  </a:extLst>
                </a:gridCol>
                <a:gridCol w="2952328">
                  <a:extLst>
                    <a:ext uri="{9D8B030D-6E8A-4147-A177-3AD203B41FA5}">
                      <a16:colId xmlns:a16="http://schemas.microsoft.com/office/drawing/2014/main" val="353485939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TW" altLang="en-US" dirty="0">
                          <a:solidFill>
                            <a:schemeClr val="bg1"/>
                          </a:solidFill>
                        </a:rPr>
                        <a:t>參數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dirty="0">
                          <a:solidFill>
                            <a:schemeClr val="bg1"/>
                          </a:solidFill>
                        </a:rPr>
                        <a:t>r</a:t>
                      </a:r>
                      <a:endParaRPr lang="zh-TW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dirty="0">
                          <a:solidFill>
                            <a:schemeClr val="bg1"/>
                          </a:solidFill>
                        </a:rPr>
                        <a:t>w</a:t>
                      </a:r>
                      <a:endParaRPr lang="zh-TW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dirty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zh-TW" alt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15039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zh-TW" altLang="en-US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只能讀檔，若檔案不在則發生錯誤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只能寫檔，若檔案不在則會產生檔案，若檔案存在則會覆蓋內容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dirty="0"/>
                        <a:t>只能讀檔，若檔案不在則會產生檔案，若檔案存在則會將新的內容接續在原本的資料後面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1915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dirty="0" smtClean="0"/>
                        <a:t>+</a:t>
                      </a:r>
                      <a:endParaRPr lang="zh-TW" altLang="en-US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TW" altLang="en-US" dirty="0"/>
                        <a:t>能讀</a:t>
                      </a:r>
                      <a:r>
                        <a:rPr lang="zh-TW" altLang="en-US" b="1" dirty="0">
                          <a:solidFill>
                            <a:srgbClr val="CE4C4B"/>
                          </a:solidFill>
                        </a:rPr>
                        <a:t>寫</a:t>
                      </a:r>
                      <a:r>
                        <a:rPr lang="zh-TW" altLang="en-US" dirty="0"/>
                        <a:t>檔，若檔案不在則發生錯誤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dirty="0"/>
                        <a:t>能</a:t>
                      </a:r>
                      <a:r>
                        <a:rPr lang="zh-TW" altLang="en-US" b="1" dirty="0">
                          <a:solidFill>
                            <a:srgbClr val="CE4C4B"/>
                          </a:solidFill>
                        </a:rPr>
                        <a:t>讀</a:t>
                      </a:r>
                      <a:r>
                        <a:rPr lang="zh-TW" altLang="en-US" dirty="0"/>
                        <a:t>寫檔，若檔案不在則會產生檔案，若檔案存在則會覆蓋內容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dirty="0"/>
                        <a:t>能讀</a:t>
                      </a:r>
                      <a:r>
                        <a:rPr lang="zh-TW" altLang="en-US" b="1" u="none" dirty="0">
                          <a:solidFill>
                            <a:srgbClr val="CE4C4B"/>
                          </a:solidFill>
                        </a:rPr>
                        <a:t>寫</a:t>
                      </a:r>
                      <a:r>
                        <a:rPr lang="zh-TW" altLang="en-US" dirty="0"/>
                        <a:t>檔，若檔案不在則會產生檔案，若檔案存在則會將新的內容接續在原本的資料後面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1261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765845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>
                <a:latin typeface="微軟正黑體" panose="020B0604030504040204" pitchFamily="34" charset="-120"/>
              </a:rPr>
              <a:t>其餘指令</a:t>
            </a:r>
            <a:r>
              <a:rPr lang="zh-TW" altLang="en-US" dirty="0" smtClean="0">
                <a:latin typeface="微軟正黑體" panose="020B0604030504040204" pitchFamily="34" charset="-120"/>
              </a:rPr>
              <a:t>補充 </a:t>
            </a:r>
            <a:r>
              <a:rPr lang="en-US" altLang="zh-TW" dirty="0" smtClean="0">
                <a:latin typeface="+mj-lt"/>
              </a:rPr>
              <a:t>(2/2)</a:t>
            </a:r>
            <a:endParaRPr lang="zh-TW" altLang="en-US" b="1" dirty="0">
              <a:latin typeface="+mj-lt"/>
            </a:endParaRP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pPr>
              <a:defRPr/>
            </a:pPr>
            <a:fld id="{9864C0B4-EC1E-4FC9-B104-936E49C44DDA}" type="slidenum">
              <a:rPr lang="zh-TW" altLang="en-US" smtClean="0"/>
              <a:pPr>
                <a:defRPr/>
              </a:pPr>
              <a:t>28</a:t>
            </a:fld>
            <a:endParaRPr lang="en-US" altLang="zh-TW" dirty="0"/>
          </a:p>
        </p:txBody>
      </p:sp>
      <p:grpSp>
        <p:nvGrpSpPr>
          <p:cNvPr id="24" name="群組 23"/>
          <p:cNvGrpSpPr/>
          <p:nvPr/>
        </p:nvGrpSpPr>
        <p:grpSpPr>
          <a:xfrm>
            <a:off x="983432" y="1839718"/>
            <a:ext cx="3678046" cy="307777"/>
            <a:chOff x="983432" y="1839718"/>
            <a:chExt cx="3678046" cy="307777"/>
          </a:xfrm>
        </p:grpSpPr>
        <p:sp>
          <p:nvSpPr>
            <p:cNvPr id="8" name="Text Placeholder 3"/>
            <p:cNvSpPr txBox="1">
              <a:spLocks/>
            </p:cNvSpPr>
            <p:nvPr/>
          </p:nvSpPr>
          <p:spPr>
            <a:xfrm>
              <a:off x="1659053" y="1839718"/>
              <a:ext cx="3002425" cy="307777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lvl="1"/>
              <a:r>
                <a:rPr lang="en-US" altLang="zh-TW" sz="2000" b="1" dirty="0" err="1">
                  <a:solidFill>
                    <a:srgbClr val="0E457D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ea typeface="微軟正黑體" panose="020B0604030504040204" pitchFamily="34" charset="-120"/>
                </a:rPr>
                <a:t>fprintf</a:t>
              </a:r>
              <a:r>
                <a:rPr lang="en-US" altLang="zh-TW" sz="2000" dirty="0">
                  <a:latin typeface="Arial" panose="020B0604020202020204" pitchFamily="34" charset="0"/>
                  <a:ea typeface="微軟正黑體" panose="020B0604030504040204" pitchFamily="34" charset="-120"/>
                </a:rPr>
                <a:t> : </a:t>
              </a:r>
              <a:r>
                <a:rPr lang="zh-TW" altLang="en-US" sz="2000" dirty="0">
                  <a:latin typeface="Arial" panose="020B0604020202020204" pitchFamily="34" charset="0"/>
                  <a:ea typeface="微軟正黑體" panose="020B0604030504040204" pitchFamily="34" charset="-120"/>
                </a:rPr>
                <a:t>將變數輸入至</a:t>
              </a:r>
              <a:r>
                <a:rPr lang="zh-TW" altLang="en-US" sz="2000" dirty="0" smtClean="0">
                  <a:latin typeface="Arial" panose="020B0604020202020204" pitchFamily="34" charset="0"/>
                  <a:ea typeface="微軟正黑體" panose="020B0604030504040204" pitchFamily="34" charset="-120"/>
                </a:rPr>
                <a:t>檔案</a:t>
              </a:r>
              <a:endPara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9" name="Oval 77"/>
            <p:cNvSpPr>
              <a:spLocks noChangeArrowheads="1"/>
            </p:cNvSpPr>
            <p:nvPr/>
          </p:nvSpPr>
          <p:spPr bwMode="auto">
            <a:xfrm>
              <a:off x="983432" y="1844824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31690"/>
              <a:r>
                <a:rPr lang="en-US" sz="2000" dirty="0" smtClean="0">
                  <a:solidFill>
                    <a:srgbClr val="0E457D"/>
                  </a:solidFill>
                  <a:latin typeface="Arial" panose="020B0604020202020204" pitchFamily="34" charset="0"/>
                  <a:ea typeface="微軟正黑體" panose="020B0604030504040204" pitchFamily="34" charset="-120"/>
                </a:rPr>
                <a:t>1</a:t>
              </a:r>
              <a:endParaRPr lang="en-US" sz="2000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0" name="矩形 3"/>
          <p:cNvSpPr>
            <a:spLocks noChangeArrowheads="1"/>
          </p:cNvSpPr>
          <p:nvPr/>
        </p:nvSpPr>
        <p:spPr bwMode="auto">
          <a:xfrm>
            <a:off x="4871864" y="1781942"/>
            <a:ext cx="3816424" cy="423327"/>
          </a:xfrm>
          <a:prstGeom prst="roundRect">
            <a:avLst>
              <a:gd name="adj" fmla="val 9495"/>
            </a:avLst>
          </a:prstGeom>
          <a:solidFill>
            <a:srgbClr val="E1F0FB"/>
          </a:solidFill>
          <a:ln w="127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TW" sz="2000" dirty="0" err="1">
                <a:latin typeface="Arial" panose="020B0604020202020204" pitchFamily="34" charset="0"/>
                <a:ea typeface="微軟正黑體" panose="020B0604030504040204" pitchFamily="34" charset="-120"/>
              </a:rPr>
              <a:t>fprintf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fid,’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資料格式’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,’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變數’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)</a:t>
            </a:r>
          </a:p>
        </p:txBody>
      </p:sp>
      <p:grpSp>
        <p:nvGrpSpPr>
          <p:cNvPr id="21" name="群組 20"/>
          <p:cNvGrpSpPr/>
          <p:nvPr/>
        </p:nvGrpSpPr>
        <p:grpSpPr>
          <a:xfrm>
            <a:off x="983432" y="2382331"/>
            <a:ext cx="3423168" cy="307777"/>
            <a:chOff x="983432" y="3076446"/>
            <a:chExt cx="3423168" cy="307777"/>
          </a:xfrm>
        </p:grpSpPr>
        <p:sp>
          <p:nvSpPr>
            <p:cNvPr id="11" name="Text Placeholder 3"/>
            <p:cNvSpPr txBox="1">
              <a:spLocks/>
            </p:cNvSpPr>
            <p:nvPr/>
          </p:nvSpPr>
          <p:spPr>
            <a:xfrm>
              <a:off x="1659053" y="3076446"/>
              <a:ext cx="2747547" cy="307777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lvl="1"/>
              <a:r>
                <a:rPr lang="en-US" altLang="zh-TW" sz="2000" b="1" dirty="0" err="1">
                  <a:solidFill>
                    <a:srgbClr val="0E457D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ea typeface="微軟正黑體" panose="020B0604030504040204" pitchFamily="34" charset="-120"/>
                </a:rPr>
                <a:t>fclose</a:t>
              </a:r>
              <a:r>
                <a:rPr lang="en-US" altLang="zh-TW" sz="2000" dirty="0">
                  <a:latin typeface="Arial" panose="020B0604020202020204" pitchFamily="34" charset="0"/>
                  <a:ea typeface="微軟正黑體" panose="020B0604030504040204" pitchFamily="34" charset="-120"/>
                </a:rPr>
                <a:t> : </a:t>
              </a:r>
              <a:r>
                <a:rPr lang="zh-TW" altLang="en-US" sz="2000" dirty="0">
                  <a:latin typeface="Arial" panose="020B0604020202020204" pitchFamily="34" charset="0"/>
                  <a:ea typeface="微軟正黑體" panose="020B0604030504040204" pitchFamily="34" charset="-120"/>
                </a:rPr>
                <a:t>關閉檔案的讀寫</a:t>
              </a:r>
            </a:p>
          </p:txBody>
        </p:sp>
        <p:sp>
          <p:nvSpPr>
            <p:cNvPr id="12" name="Oval 77"/>
            <p:cNvSpPr>
              <a:spLocks noChangeArrowheads="1"/>
            </p:cNvSpPr>
            <p:nvPr/>
          </p:nvSpPr>
          <p:spPr bwMode="auto">
            <a:xfrm>
              <a:off x="983432" y="3081552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31690"/>
              <a:r>
                <a:rPr lang="en-US" sz="2000" dirty="0" smtClean="0">
                  <a:solidFill>
                    <a:srgbClr val="0E457D"/>
                  </a:solidFill>
                  <a:latin typeface="Arial" panose="020B0604020202020204" pitchFamily="34" charset="0"/>
                  <a:ea typeface="微軟正黑體" panose="020B0604030504040204" pitchFamily="34" charset="-120"/>
                </a:rPr>
                <a:t>2</a:t>
              </a:r>
              <a:endParaRPr lang="en-US" sz="2000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22" name="群組 21"/>
          <p:cNvGrpSpPr/>
          <p:nvPr/>
        </p:nvGrpSpPr>
        <p:grpSpPr>
          <a:xfrm>
            <a:off x="983432" y="2924944"/>
            <a:ext cx="9339852" cy="307777"/>
            <a:chOff x="983432" y="4551010"/>
            <a:chExt cx="9339852" cy="307777"/>
          </a:xfrm>
        </p:grpSpPr>
        <p:sp>
          <p:nvSpPr>
            <p:cNvPr id="14" name="Text Placeholder 3"/>
            <p:cNvSpPr txBox="1">
              <a:spLocks/>
            </p:cNvSpPr>
            <p:nvPr/>
          </p:nvSpPr>
          <p:spPr>
            <a:xfrm>
              <a:off x="1659053" y="4551010"/>
              <a:ext cx="8664231" cy="307777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>
              <a:lvl1pPr marL="0" indent="0" algn="ctr">
                <a:buNone/>
                <a:defRPr sz="1400" baseline="0">
                  <a:solidFill>
                    <a:schemeClr val="tx1">
                      <a:lumMod val="95000"/>
                      <a:lumOff val="5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lvl="1"/>
              <a:r>
                <a:rPr lang="en-US" altLang="zh-TW" sz="2000" b="1" dirty="0">
                  <a:solidFill>
                    <a:srgbClr val="0E457D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ea typeface="微軟正黑體" panose="020B0604030504040204" pitchFamily="34" charset="-120"/>
                </a:rPr>
                <a:t>c</a:t>
              </a:r>
              <a:r>
                <a:rPr lang="en-US" altLang="zh-TW" sz="2000" b="1" dirty="0" smtClean="0">
                  <a:solidFill>
                    <a:srgbClr val="0E457D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ea typeface="微軟正黑體" panose="020B0604030504040204" pitchFamily="34" charset="-120"/>
                </a:rPr>
                <a:t>har</a:t>
              </a:r>
              <a:r>
                <a:rPr lang="zh-TW" altLang="en-US" sz="2000" dirty="0" smtClean="0">
                  <a:latin typeface="Arial" panose="020B0604020202020204" pitchFamily="34" charset="0"/>
                  <a:ea typeface="微軟正黑體" panose="020B0604030504040204" pitchFamily="34" charset="-120"/>
                </a:rPr>
                <a:t>：除</a:t>
              </a:r>
              <a:r>
                <a:rPr lang="zh-TW" altLang="en-US" sz="2000" dirty="0">
                  <a:latin typeface="Arial" panose="020B0604020202020204" pitchFamily="34" charset="0"/>
                  <a:ea typeface="微軟正黑體" panose="020B0604030504040204" pitchFamily="34" charset="-120"/>
                </a:rPr>
                <a:t>可轉換</a:t>
              </a:r>
              <a:r>
                <a:rPr lang="en-US" altLang="zh-TW" sz="2000" dirty="0">
                  <a:latin typeface="Arial" panose="020B0604020202020204" pitchFamily="34" charset="0"/>
                  <a:ea typeface="微軟正黑體" panose="020B0604030504040204" pitchFamily="34" charset="-120"/>
                </a:rPr>
                <a:t>ASCII</a:t>
              </a:r>
              <a:r>
                <a:rPr lang="zh-TW" altLang="en-US" sz="2000" dirty="0">
                  <a:latin typeface="Arial" panose="020B0604020202020204" pitchFamily="34" charset="0"/>
                  <a:ea typeface="微軟正黑體" panose="020B0604030504040204" pitchFamily="34" charset="-120"/>
                </a:rPr>
                <a:t>為字母外，亦可以將不同長度之字串以最大的長度對齊</a:t>
              </a:r>
            </a:p>
          </p:txBody>
        </p:sp>
        <p:sp>
          <p:nvSpPr>
            <p:cNvPr id="15" name="Oval 77"/>
            <p:cNvSpPr>
              <a:spLocks noChangeArrowheads="1"/>
            </p:cNvSpPr>
            <p:nvPr/>
          </p:nvSpPr>
          <p:spPr bwMode="auto">
            <a:xfrm>
              <a:off x="983432" y="4556116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31690"/>
              <a:r>
                <a:rPr lang="en-US" sz="2000" dirty="0" smtClean="0">
                  <a:solidFill>
                    <a:srgbClr val="0E457D"/>
                  </a:solidFill>
                  <a:latin typeface="Arial" panose="020B0604020202020204" pitchFamily="34" charset="0"/>
                  <a:ea typeface="微軟正黑體" panose="020B0604030504040204" pitchFamily="34" charset="-120"/>
                </a:rPr>
                <a:t>3</a:t>
              </a:r>
              <a:endParaRPr lang="en-US" sz="2000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</p:grpSp>
      <p:pic>
        <p:nvPicPr>
          <p:cNvPr id="4" name="圖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7568" y="3467557"/>
            <a:ext cx="5561029" cy="3239904"/>
          </a:xfrm>
          <a:prstGeom prst="rect">
            <a:avLst/>
          </a:prstGeom>
        </p:spPr>
      </p:pic>
      <p:sp>
        <p:nvSpPr>
          <p:cNvPr id="25" name="Text Placeholder 3"/>
          <p:cNvSpPr txBox="1">
            <a:spLocks/>
          </p:cNvSpPr>
          <p:nvPr/>
        </p:nvSpPr>
        <p:spPr>
          <a:xfrm>
            <a:off x="7320136" y="5196979"/>
            <a:ext cx="4392488" cy="1217741"/>
          </a:xfrm>
          <a:prstGeom prst="roundRect">
            <a:avLst>
              <a:gd name="adj" fmla="val 13519"/>
            </a:avLst>
          </a:prstGeom>
          <a:solidFill>
            <a:srgbClr val="CE4C4B"/>
          </a:solidFill>
          <a:ln>
            <a:noFill/>
          </a:ln>
        </p:spPr>
        <p:txBody>
          <a:bodyPr wrap="square" lIns="180000" tIns="72000" rIns="180000" bIns="7200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algn="l">
              <a:buClr>
                <a:srgbClr val="DD8047"/>
              </a:buClr>
              <a:buSzPct val="60000"/>
              <a:defRPr/>
            </a:pPr>
            <a:r>
              <a:rPr lang="zh-TW" altLang="en-US" sz="1600" dirty="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處理字母</a:t>
            </a:r>
            <a:r>
              <a:rPr lang="en-US" altLang="zh-TW" sz="1600" dirty="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(character)</a:t>
            </a:r>
            <a:r>
              <a:rPr lang="zh-TW" altLang="en-US" sz="1600" dirty="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及字串</a:t>
            </a:r>
            <a:r>
              <a:rPr lang="en-US" altLang="zh-TW" sz="1600" dirty="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(string)</a:t>
            </a:r>
            <a:r>
              <a:rPr lang="zh-TW" altLang="en-US" sz="1600" dirty="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資料時，</a:t>
            </a:r>
            <a:r>
              <a:rPr lang="en-US" altLang="zh-TW" sz="1600" dirty="0" err="1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Matlab</a:t>
            </a:r>
            <a:r>
              <a:rPr lang="zh-TW" altLang="en-US" sz="1600" dirty="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亦常使用陣列結構。</a:t>
            </a:r>
          </a:p>
          <a:p>
            <a:pPr lvl="0" algn="l">
              <a:buClr>
                <a:srgbClr val="DD8047"/>
              </a:buClr>
              <a:buSzPct val="60000"/>
              <a:defRPr/>
            </a:pPr>
            <a:r>
              <a:rPr lang="zh-TW" altLang="en-US" sz="1600" dirty="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任何一個變數均可置入文字。無論是字母或字串都要使用撇號前後括出來。</a:t>
            </a:r>
          </a:p>
        </p:txBody>
      </p:sp>
      <p:grpSp>
        <p:nvGrpSpPr>
          <p:cNvPr id="26" name="群組 25"/>
          <p:cNvGrpSpPr/>
          <p:nvPr/>
        </p:nvGrpSpPr>
        <p:grpSpPr>
          <a:xfrm>
            <a:off x="11424591" y="4794343"/>
            <a:ext cx="540000" cy="540000"/>
            <a:chOff x="9545273" y="4619252"/>
            <a:chExt cx="540000" cy="540000"/>
          </a:xfrm>
        </p:grpSpPr>
        <p:sp>
          <p:nvSpPr>
            <p:cNvPr id="27" name="橢圓 26"/>
            <p:cNvSpPr/>
            <p:nvPr/>
          </p:nvSpPr>
          <p:spPr>
            <a:xfrm>
              <a:off x="9545273" y="4619252"/>
              <a:ext cx="540000" cy="540000"/>
            </a:xfrm>
            <a:prstGeom prst="ellipse">
              <a:avLst/>
            </a:prstGeom>
            <a:solidFill>
              <a:srgbClr val="0E457D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0" h="0" prst="angle"/>
              <a:contourClr>
                <a:sysClr val="window" lastClr="FFFFFF"/>
              </a:contourClr>
            </a:sp3d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28" name="Freeform 282"/>
            <p:cNvSpPr>
              <a:spLocks noChangeAspect="1"/>
            </p:cNvSpPr>
            <p:nvPr/>
          </p:nvSpPr>
          <p:spPr>
            <a:xfrm>
              <a:off x="9645326" y="4727252"/>
              <a:ext cx="339893" cy="324000"/>
            </a:xfrm>
            <a:custGeom>
              <a:avLst/>
              <a:gdLst/>
              <a:ahLst/>
              <a:cxnLst/>
              <a:rect l="l" t="t" r="r" b="b"/>
              <a:pathLst>
                <a:path w="468765" h="447074">
                  <a:moveTo>
                    <a:pt x="234382" y="0"/>
                  </a:moveTo>
                  <a:cubicBezTo>
                    <a:pt x="240017" y="0"/>
                    <a:pt x="244618" y="3850"/>
                    <a:pt x="248186" y="11550"/>
                  </a:cubicBezTo>
                  <a:lnTo>
                    <a:pt x="311571" y="139728"/>
                  </a:lnTo>
                  <a:lnTo>
                    <a:pt x="452990" y="160293"/>
                  </a:lnTo>
                  <a:cubicBezTo>
                    <a:pt x="463507" y="161983"/>
                    <a:pt x="468765" y="166303"/>
                    <a:pt x="468765" y="173252"/>
                  </a:cubicBezTo>
                  <a:cubicBezTo>
                    <a:pt x="468765" y="177383"/>
                    <a:pt x="466324" y="181891"/>
                    <a:pt x="461441" y="186774"/>
                  </a:cubicBezTo>
                  <a:lnTo>
                    <a:pt x="359180" y="286499"/>
                  </a:lnTo>
                  <a:lnTo>
                    <a:pt x="383407" y="427354"/>
                  </a:lnTo>
                  <a:cubicBezTo>
                    <a:pt x="383595" y="428669"/>
                    <a:pt x="383689" y="430547"/>
                    <a:pt x="383689" y="432989"/>
                  </a:cubicBezTo>
                  <a:cubicBezTo>
                    <a:pt x="383689" y="436933"/>
                    <a:pt x="382703" y="440266"/>
                    <a:pt x="380731" y="442989"/>
                  </a:cubicBezTo>
                  <a:cubicBezTo>
                    <a:pt x="378759" y="445713"/>
                    <a:pt x="375895" y="447074"/>
                    <a:pt x="372139" y="447074"/>
                  </a:cubicBezTo>
                  <a:cubicBezTo>
                    <a:pt x="368571" y="447074"/>
                    <a:pt x="364814" y="445947"/>
                    <a:pt x="360870" y="443694"/>
                  </a:cubicBezTo>
                  <a:lnTo>
                    <a:pt x="234382" y="377210"/>
                  </a:lnTo>
                  <a:lnTo>
                    <a:pt x="107894" y="443694"/>
                  </a:lnTo>
                  <a:cubicBezTo>
                    <a:pt x="103763" y="445947"/>
                    <a:pt x="100006" y="447074"/>
                    <a:pt x="96626" y="447074"/>
                  </a:cubicBezTo>
                  <a:cubicBezTo>
                    <a:pt x="92682" y="447074"/>
                    <a:pt x="89724" y="445713"/>
                    <a:pt x="87752" y="442989"/>
                  </a:cubicBezTo>
                  <a:cubicBezTo>
                    <a:pt x="85780" y="440266"/>
                    <a:pt x="84794" y="436933"/>
                    <a:pt x="84794" y="432989"/>
                  </a:cubicBezTo>
                  <a:cubicBezTo>
                    <a:pt x="84794" y="431862"/>
                    <a:pt x="84982" y="429984"/>
                    <a:pt x="85358" y="427354"/>
                  </a:cubicBezTo>
                  <a:lnTo>
                    <a:pt x="109585" y="286499"/>
                  </a:lnTo>
                  <a:lnTo>
                    <a:pt x="7043" y="186774"/>
                  </a:lnTo>
                  <a:cubicBezTo>
                    <a:pt x="2347" y="181703"/>
                    <a:pt x="0" y="177196"/>
                    <a:pt x="0" y="173252"/>
                  </a:cubicBezTo>
                  <a:cubicBezTo>
                    <a:pt x="0" y="166303"/>
                    <a:pt x="5258" y="161983"/>
                    <a:pt x="15775" y="160293"/>
                  </a:cubicBezTo>
                  <a:lnTo>
                    <a:pt x="157194" y="139728"/>
                  </a:lnTo>
                  <a:lnTo>
                    <a:pt x="220579" y="11550"/>
                  </a:lnTo>
                  <a:cubicBezTo>
                    <a:pt x="224147" y="3850"/>
                    <a:pt x="228748" y="0"/>
                    <a:pt x="23438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53164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資料</a:t>
            </a:r>
            <a:r>
              <a:rPr lang="zh-TW" altLang="en-US" dirty="0" smtClean="0"/>
              <a:t>格式與控制標</a:t>
            </a:r>
            <a:endParaRPr lang="zh-TW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pPr>
              <a:defRPr/>
            </a:pPr>
            <a:fld id="{9864C0B4-EC1E-4FC9-B104-936E49C44DDA}" type="slidenum">
              <a:rPr lang="zh-TW" altLang="en-US" smtClean="0"/>
              <a:pPr>
                <a:defRPr/>
              </a:pPr>
              <a:t>29</a:t>
            </a:fld>
            <a:endParaRPr lang="en-US" altLang="zh-TW" dirty="0"/>
          </a:p>
        </p:txBody>
      </p:sp>
      <p:graphicFrame>
        <p:nvGraphicFramePr>
          <p:cNvPr id="7" name="表格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285473"/>
              </p:ext>
            </p:extLst>
          </p:nvPr>
        </p:nvGraphicFramePr>
        <p:xfrm>
          <a:off x="969377" y="1628800"/>
          <a:ext cx="6134735" cy="5151120"/>
        </p:xfrm>
        <a:graphic>
          <a:graphicData uri="http://schemas.openxmlformats.org/drawingml/2006/table">
            <a:tbl>
              <a:tblPr firstRow="1"/>
              <a:tblGrid>
                <a:gridCol w="1522730">
                  <a:extLst>
                    <a:ext uri="{9D8B030D-6E8A-4147-A177-3AD203B41FA5}">
                      <a16:colId xmlns:a16="http://schemas.microsoft.com/office/drawing/2014/main" val="2866711560"/>
                    </a:ext>
                  </a:extLst>
                </a:gridCol>
                <a:gridCol w="4612005">
                  <a:extLst>
                    <a:ext uri="{9D8B030D-6E8A-4147-A177-3AD203B41FA5}">
                      <a16:colId xmlns:a16="http://schemas.microsoft.com/office/drawing/2014/main" val="23327043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格式標代碼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說明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15039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%c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zh-TW" altLang="en-US" sz="2000" dirty="0" smtClean="0">
                          <a:effectLst/>
                        </a:rPr>
                        <a:t>單一文字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1915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%d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zh-TW" altLang="en-US" sz="2000" dirty="0" smtClean="0">
                          <a:effectLst/>
                        </a:rPr>
                        <a:t>十進位 </a:t>
                      </a:r>
                      <a:r>
                        <a:rPr lang="en-US" altLang="zh-TW" sz="2000" dirty="0" smtClean="0">
                          <a:effectLst/>
                        </a:rPr>
                        <a:t>(</a:t>
                      </a:r>
                      <a:r>
                        <a:rPr lang="zh-TW" altLang="en-US" sz="2000" dirty="0" smtClean="0">
                          <a:effectLst/>
                        </a:rPr>
                        <a:t>有正負符號</a:t>
                      </a:r>
                      <a:r>
                        <a:rPr lang="en-US" altLang="zh-TW" sz="2000" dirty="0" smtClean="0">
                          <a:effectLst/>
                        </a:rPr>
                        <a:t>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12615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zh-TW" sz="2000" dirty="0" smtClean="0">
                          <a:effectLst/>
                        </a:rPr>
                        <a:t>%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zh-TW" altLang="en-US" sz="2000" dirty="0" smtClean="0">
                          <a:effectLst/>
                        </a:rPr>
                        <a:t>指數格式 </a:t>
                      </a:r>
                      <a:r>
                        <a:rPr lang="en-US" altLang="zh-TW" sz="2000" dirty="0" smtClean="0">
                          <a:effectLst/>
                        </a:rPr>
                        <a:t>(</a:t>
                      </a:r>
                      <a:r>
                        <a:rPr lang="zh-TW" altLang="en-US" sz="2000" dirty="0" smtClean="0">
                          <a:effectLst/>
                        </a:rPr>
                        <a:t>如小寫</a:t>
                      </a:r>
                      <a:r>
                        <a:rPr lang="en-US" altLang="zh-TW" sz="2000" dirty="0" smtClean="0">
                          <a:effectLst/>
                        </a:rPr>
                        <a:t>1.414e+01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8594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zh-TW" sz="2000" dirty="0" smtClean="0">
                          <a:effectLst/>
                        </a:rPr>
                        <a:t>%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zh-TW" altLang="en-US" sz="2000" dirty="0" smtClean="0">
                          <a:effectLst/>
                        </a:rPr>
                        <a:t>指數格式 </a:t>
                      </a:r>
                      <a:r>
                        <a:rPr lang="en-US" altLang="zh-TW" sz="2000" dirty="0" smtClean="0">
                          <a:effectLst/>
                        </a:rPr>
                        <a:t>(</a:t>
                      </a:r>
                      <a:r>
                        <a:rPr lang="zh-TW" altLang="en-US" sz="2000" dirty="0" smtClean="0">
                          <a:effectLst/>
                        </a:rPr>
                        <a:t>如大寫</a:t>
                      </a:r>
                      <a:r>
                        <a:rPr lang="en-US" altLang="zh-TW" sz="2000" dirty="0" smtClean="0">
                          <a:effectLst/>
                        </a:rPr>
                        <a:t>1.414E+01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8613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zh-TW" sz="2000" dirty="0" smtClean="0">
                          <a:effectLst/>
                        </a:rPr>
                        <a:t>%f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zh-TW" altLang="en-US" sz="2000" dirty="0" smtClean="0">
                          <a:effectLst/>
                        </a:rPr>
                        <a:t>固定位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27965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zh-TW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g</a:t>
                      </a:r>
                      <a:endParaRPr kumimoji="1" lang="zh-TW" alt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TW" altLang="en-US" sz="2000" dirty="0" smtClean="0">
                          <a:effectLst/>
                        </a:rPr>
                        <a:t>較</a:t>
                      </a:r>
                      <a:r>
                        <a:rPr lang="en-US" altLang="zh-TW" sz="2000" dirty="0" smtClean="0">
                          <a:effectLst/>
                        </a:rPr>
                        <a:t>%f</a:t>
                      </a:r>
                      <a:r>
                        <a:rPr lang="zh-TW" altLang="en-US" sz="2000" dirty="0" smtClean="0">
                          <a:effectLst/>
                        </a:rPr>
                        <a:t>或</a:t>
                      </a:r>
                      <a:r>
                        <a:rPr lang="en-US" altLang="zh-TW" sz="2000" dirty="0" smtClean="0">
                          <a:effectLst/>
                        </a:rPr>
                        <a:t>%e</a:t>
                      </a:r>
                      <a:r>
                        <a:rPr lang="zh-TW" altLang="en-US" sz="2000" dirty="0" smtClean="0">
                          <a:effectLst/>
                        </a:rPr>
                        <a:t>更為簡潔的型式，使用小寫</a:t>
                      </a:r>
                      <a:r>
                        <a:rPr lang="en-US" altLang="zh-TW" sz="2000" dirty="0" smtClean="0">
                          <a:effectLst/>
                        </a:rPr>
                        <a:t>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84267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zh-TW" sz="2000" dirty="0" smtClean="0">
                          <a:effectLst/>
                        </a:rPr>
                        <a:t>%i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zh-TW" altLang="en-US" sz="2000" dirty="0" smtClean="0">
                          <a:effectLst/>
                        </a:rPr>
                        <a:t>十進位 </a:t>
                      </a:r>
                      <a:r>
                        <a:rPr lang="en-US" altLang="zh-TW" sz="2000" dirty="0" smtClean="0">
                          <a:effectLst/>
                        </a:rPr>
                        <a:t>(</a:t>
                      </a:r>
                      <a:r>
                        <a:rPr lang="zh-TW" altLang="en-US" sz="2000" dirty="0" smtClean="0">
                          <a:effectLst/>
                        </a:rPr>
                        <a:t>有正負符號</a:t>
                      </a:r>
                      <a:r>
                        <a:rPr lang="en-US" altLang="zh-TW" sz="2000" dirty="0" smtClean="0">
                          <a:effectLst/>
                        </a:rPr>
                        <a:t>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70135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lang="en-US" altLang="zh-TW" sz="2000" dirty="0" smtClean="0">
                          <a:effectLst/>
                        </a:rPr>
                        <a:t>%o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zh-TW" altLang="en-US" sz="2000" dirty="0" smtClean="0">
                          <a:effectLst/>
                        </a:rPr>
                        <a:t>八進位 </a:t>
                      </a:r>
                      <a:r>
                        <a:rPr lang="en-US" altLang="zh-TW" sz="2000" dirty="0" smtClean="0">
                          <a:effectLst/>
                        </a:rPr>
                        <a:t>(</a:t>
                      </a:r>
                      <a:r>
                        <a:rPr lang="zh-TW" altLang="en-US" sz="2000" dirty="0" smtClean="0">
                          <a:effectLst/>
                        </a:rPr>
                        <a:t>無正負符號</a:t>
                      </a:r>
                      <a:r>
                        <a:rPr lang="en-US" altLang="zh-TW" sz="2000" dirty="0" smtClean="0">
                          <a:effectLst/>
                        </a:rPr>
                        <a:t>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8052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zh-TW" sz="2000" dirty="0" smtClean="0">
                          <a:effectLst/>
                        </a:rPr>
                        <a:t>%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zh-TW" altLang="en-US" sz="2000" dirty="0" smtClean="0">
                          <a:effectLst/>
                        </a:rPr>
                        <a:t>一串文字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17919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zh-TW" sz="2000" dirty="0" smtClean="0">
                          <a:effectLst/>
                        </a:rPr>
                        <a:t>%u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zh-TW" altLang="en-US" sz="2000" dirty="0" smtClean="0">
                          <a:effectLst/>
                        </a:rPr>
                        <a:t>十進位 </a:t>
                      </a:r>
                      <a:r>
                        <a:rPr lang="en-US" altLang="zh-TW" sz="2000" dirty="0" smtClean="0">
                          <a:effectLst/>
                        </a:rPr>
                        <a:t>(</a:t>
                      </a:r>
                      <a:r>
                        <a:rPr lang="zh-TW" altLang="en-US" sz="2000" dirty="0" smtClean="0">
                          <a:effectLst/>
                        </a:rPr>
                        <a:t>無正負符號</a:t>
                      </a:r>
                      <a:r>
                        <a:rPr lang="en-US" altLang="zh-TW" sz="2000" dirty="0" smtClean="0">
                          <a:effectLst/>
                        </a:rPr>
                        <a:t>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87525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zh-TW" sz="2000" dirty="0" smtClean="0">
                          <a:effectLst/>
                        </a:rPr>
                        <a:t>%x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zh-TW" altLang="en-US" sz="2000" dirty="0" smtClean="0">
                          <a:effectLst/>
                        </a:rPr>
                        <a:t>十六進位 </a:t>
                      </a:r>
                      <a:r>
                        <a:rPr lang="en-US" altLang="zh-TW" sz="2000" dirty="0" smtClean="0">
                          <a:effectLst/>
                        </a:rPr>
                        <a:t>(</a:t>
                      </a:r>
                      <a:r>
                        <a:rPr lang="zh-TW" altLang="en-US" sz="2000" dirty="0" smtClean="0">
                          <a:effectLst/>
                        </a:rPr>
                        <a:t>使用小寫文字</a:t>
                      </a:r>
                      <a:r>
                        <a:rPr lang="en-US" altLang="zh-TW" sz="2000" dirty="0" smtClean="0">
                          <a:effectLst/>
                        </a:rPr>
                        <a:t>a-f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14719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zh-TW" sz="2000" dirty="0" smtClean="0">
                          <a:effectLst/>
                        </a:rPr>
                        <a:t>%X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zh-TW" altLang="en-US" sz="2000" dirty="0" smtClean="0">
                          <a:effectLst/>
                        </a:rPr>
                        <a:t>十六進位 </a:t>
                      </a:r>
                      <a:r>
                        <a:rPr lang="en-US" altLang="zh-TW" sz="2000" dirty="0" smtClean="0">
                          <a:effectLst/>
                        </a:rPr>
                        <a:t>(</a:t>
                      </a:r>
                      <a:r>
                        <a:rPr lang="zh-TW" altLang="en-US" sz="2000" dirty="0" smtClean="0">
                          <a:effectLst/>
                        </a:rPr>
                        <a:t>使用大寫文字</a:t>
                      </a:r>
                      <a:r>
                        <a:rPr lang="en-US" altLang="zh-TW" sz="2000" dirty="0" smtClean="0">
                          <a:effectLst/>
                        </a:rPr>
                        <a:t>A-F)</a:t>
                      </a:r>
                      <a:endParaRPr kumimoji="1" lang="zh-TW" alt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8987353"/>
                  </a:ext>
                </a:extLst>
              </a:tr>
            </a:tbl>
          </a:graphicData>
        </a:graphic>
      </p:graphicFrame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853706"/>
              </p:ext>
            </p:extLst>
          </p:nvPr>
        </p:nvGraphicFramePr>
        <p:xfrm>
          <a:off x="7608168" y="2060848"/>
          <a:ext cx="3554601" cy="3566160"/>
        </p:xfrm>
        <a:graphic>
          <a:graphicData uri="http://schemas.openxmlformats.org/drawingml/2006/table">
            <a:tbl>
              <a:tblPr firstRow="1"/>
              <a:tblGrid>
                <a:gridCol w="1945005">
                  <a:extLst>
                    <a:ext uri="{9D8B030D-6E8A-4147-A177-3AD203B41FA5}">
                      <a16:colId xmlns:a16="http://schemas.microsoft.com/office/drawing/2014/main" val="2866711560"/>
                    </a:ext>
                  </a:extLst>
                </a:gridCol>
                <a:gridCol w="1609596">
                  <a:extLst>
                    <a:ext uri="{9D8B030D-6E8A-4147-A177-3AD203B41FA5}">
                      <a16:colId xmlns:a16="http://schemas.microsoft.com/office/drawing/2014/main" val="23327043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控制標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說明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15039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\b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zh-TW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倒退一格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1915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\f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zh-TW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進一頁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12615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\n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zh-TW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跳一新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8594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\r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zh-TW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回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8613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\t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zh-TW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水平跳格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27965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\\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zh-TW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反斜線符號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17919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\</a:t>
                      </a:r>
                      <a:r>
                        <a:rPr kumimoji="1" lang="en-US" altLang="zh-TW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gency FB" panose="020B0503020202020204" pitchFamily="34" charset="0"/>
                          <a:ea typeface="細明體" panose="02020509000000000000" pitchFamily="49" charset="-120"/>
                          <a:cs typeface="Times New Roman" panose="02020603050405020304" pitchFamily="18" charset="0"/>
                        </a:rPr>
                        <a:t>”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gency FB" panose="020B0503020202020204" pitchFamily="34" charset="0"/>
                        <a:ea typeface="細明體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zh-TW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單括號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4871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%%</a:t>
                      </a:r>
                      <a:endParaRPr kumimoji="1" lang="en-US" altLang="zh-TW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百分比</a:t>
                      </a:r>
                      <a:r>
                        <a:rPr kumimoji="1" lang="en-US" altLang="zh-TW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kumimoji="1" lang="en-US" altLang="zh-TW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43423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2825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988340" y="317879"/>
            <a:ext cx="9858015" cy="67710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366220"/>
            <a:r>
              <a:rPr dirty="0">
                <a:latin typeface="微軟正黑體"/>
                <a:cs typeface="微軟正黑體"/>
              </a:rPr>
              <a:t>課程規範</a:t>
            </a:r>
            <a:r>
              <a:rPr spc="100" dirty="0">
                <a:latin typeface="微軟正黑體"/>
                <a:cs typeface="微軟正黑體"/>
              </a:rPr>
              <a:t> </a:t>
            </a:r>
            <a:r>
              <a:rPr dirty="0"/>
              <a:t>(2/2)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486117" y="1729894"/>
            <a:ext cx="7691210" cy="2861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516"/>
            <a:r>
              <a:rPr sz="952" b="1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endParaRPr sz="952" dirty="0">
              <a:latin typeface="Arial"/>
              <a:cs typeface="Arial"/>
            </a:endParaRPr>
          </a:p>
          <a:p>
            <a:pPr>
              <a:spcBef>
                <a:spcPts val="36"/>
              </a:spcBef>
            </a:pPr>
            <a:endParaRPr sz="907" dirty="0">
              <a:latin typeface="Times New Roman"/>
              <a:cs typeface="Times New Roman"/>
            </a:endParaRPr>
          </a:p>
        </p:txBody>
      </p:sp>
      <p:sp>
        <p:nvSpPr>
          <p:cNvPr id="15" name="文本框 52"/>
          <p:cNvSpPr txBox="1"/>
          <p:nvPr/>
        </p:nvSpPr>
        <p:spPr>
          <a:xfrm>
            <a:off x="2683858" y="2501890"/>
            <a:ext cx="8928850" cy="2317012"/>
          </a:xfrm>
          <a:prstGeom prst="rect">
            <a:avLst/>
          </a:prstGeom>
          <a:noFill/>
        </p:spPr>
        <p:txBody>
          <a:bodyPr wrap="square" lIns="82785" tIns="41386" rIns="82785" bIns="41386" rtlCol="0">
            <a:spAutoFit/>
          </a:bodyPr>
          <a:lstStyle/>
          <a:p>
            <a:pPr marL="323898" indent="-240404" defTabSz="828972">
              <a:buFont typeface="+mj-lt"/>
              <a:buAutoNum type="arabicPeriod"/>
            </a:pPr>
            <a:r>
              <a:rPr lang="en-US" altLang="zh-CN" sz="1814" kern="0" dirty="0">
                <a:latin typeface="Calibri" panose="020F0502020204030204" pitchFamily="34" charset="0"/>
                <a:ea typeface="微軟正黑體" panose="020B0604030504040204" pitchFamily="34" charset="-120"/>
              </a:rPr>
              <a:t>DSP 1</a:t>
            </a:r>
            <a:r>
              <a:rPr lang="zh-TW" altLang="en-US" sz="1814" kern="0" dirty="0">
                <a:latin typeface="Calibri" panose="020F0502020204030204" pitchFamily="34" charset="0"/>
              </a:rPr>
              <a:t>～</a:t>
            </a:r>
            <a:r>
              <a:rPr lang="en-US" altLang="zh-TW" sz="1814" kern="0" dirty="0">
                <a:latin typeface="Calibri" panose="020F0502020204030204" pitchFamily="34" charset="0"/>
              </a:rPr>
              <a:t>6</a:t>
            </a:r>
            <a:r>
              <a:rPr lang="zh-TW" altLang="en-US" sz="1814" kern="0" dirty="0">
                <a:latin typeface="Calibri" panose="020F0502020204030204" pitchFamily="34" charset="0"/>
              </a:rPr>
              <a:t>：當次作業成績打</a:t>
            </a:r>
            <a:r>
              <a:rPr lang="en-US" altLang="zh-TW" sz="1814" kern="0" dirty="0">
                <a:latin typeface="Calibri" panose="020F0502020204030204" pitchFamily="34" charset="0"/>
              </a:rPr>
              <a:t>7</a:t>
            </a:r>
            <a:r>
              <a:rPr lang="zh-TW" altLang="en-US" sz="1814" kern="0" dirty="0">
                <a:latin typeface="Calibri" panose="020F0502020204030204" pitchFamily="34" charset="0"/>
              </a:rPr>
              <a:t>折 </a:t>
            </a:r>
            <a:r>
              <a:rPr lang="en-US" altLang="zh-TW" sz="1814" kern="0" dirty="0">
                <a:latin typeface="Calibri" panose="020F0502020204030204" pitchFamily="34" charset="0"/>
              </a:rPr>
              <a:t>(</a:t>
            </a:r>
            <a:r>
              <a:rPr lang="zh-TW" altLang="en-US" sz="1814" kern="0" dirty="0">
                <a:latin typeface="Calibri" panose="020F0502020204030204" pitchFamily="34" charset="0"/>
              </a:rPr>
              <a:t>補交期限為當次課程結束週五</a:t>
            </a:r>
            <a:r>
              <a:rPr lang="en-US" altLang="zh-TW" sz="1814" kern="0" dirty="0">
                <a:latin typeface="Calibri" panose="020F0502020204030204" pitchFamily="34" charset="0"/>
              </a:rPr>
              <a:t>17:00</a:t>
            </a:r>
            <a:r>
              <a:rPr lang="zh-TW" altLang="en-US" sz="1814" kern="0" dirty="0">
                <a:latin typeface="Calibri" panose="020F0502020204030204" pitchFamily="34" charset="0"/>
              </a:rPr>
              <a:t>前</a:t>
            </a:r>
            <a:r>
              <a:rPr lang="en-US" altLang="zh-TW" sz="1814" kern="0" dirty="0">
                <a:latin typeface="Calibri" panose="020F0502020204030204" pitchFamily="34" charset="0"/>
              </a:rPr>
              <a:t>)</a:t>
            </a:r>
          </a:p>
          <a:p>
            <a:pPr marL="323898" indent="-240404" defTabSz="828972">
              <a:buFont typeface="+mj-lt"/>
              <a:buAutoNum type="arabicPeriod"/>
            </a:pPr>
            <a:r>
              <a:rPr lang="zh-TW" altLang="en-US" sz="1814" kern="0" dirty="0">
                <a:latin typeface="Calibri" panose="020F0502020204030204" pitchFamily="34" charset="0"/>
              </a:rPr>
              <a:t>專題</a:t>
            </a:r>
            <a:r>
              <a:rPr lang="en-US" altLang="zh-TW" sz="1814" kern="0" dirty="0">
                <a:latin typeface="Calibri" panose="020F0502020204030204" pitchFamily="34" charset="0"/>
              </a:rPr>
              <a:t>1</a:t>
            </a:r>
            <a:r>
              <a:rPr lang="zh-TW" altLang="en-US" sz="1814" kern="0" dirty="0">
                <a:latin typeface="Calibri" panose="020F0502020204030204" pitchFamily="34" charset="0"/>
              </a:rPr>
              <a:t>：當次作業成績打</a:t>
            </a:r>
            <a:r>
              <a:rPr lang="en-US" altLang="zh-TW" sz="1814" kern="0" dirty="0">
                <a:latin typeface="Calibri" panose="020F0502020204030204" pitchFamily="34" charset="0"/>
              </a:rPr>
              <a:t>9</a:t>
            </a:r>
            <a:r>
              <a:rPr lang="zh-TW" altLang="en-US" sz="1814" kern="0" dirty="0">
                <a:latin typeface="Calibri" panose="020F0502020204030204" pitchFamily="34" charset="0"/>
              </a:rPr>
              <a:t>折</a:t>
            </a:r>
            <a:endParaRPr lang="en-US" altLang="zh-TW" sz="1814" kern="0" dirty="0">
              <a:latin typeface="Calibri" panose="020F0502020204030204" pitchFamily="34" charset="0"/>
            </a:endParaRPr>
          </a:p>
          <a:p>
            <a:pPr marL="738487" lvl="1" indent="-240404" defTabSz="828972">
              <a:buFont typeface="+mj-lt"/>
              <a:buAutoNum type="arabicPeriod"/>
            </a:pPr>
            <a:r>
              <a:rPr lang="en-US" altLang="zh-TW" sz="1814" kern="0" dirty="0">
                <a:latin typeface="Calibri" panose="020F0502020204030204" pitchFamily="34" charset="0"/>
              </a:rPr>
              <a:t>A</a:t>
            </a:r>
            <a:r>
              <a:rPr lang="zh-TW" altLang="en-US" sz="1814" kern="0" dirty="0">
                <a:latin typeface="Calibri" panose="020F0502020204030204" pitchFamily="34" charset="0"/>
              </a:rPr>
              <a:t>班補交期限為 </a:t>
            </a:r>
            <a:r>
              <a:rPr lang="en-US" altLang="zh-TW" sz="1814" kern="0" dirty="0">
                <a:latin typeface="Calibri" panose="020F0502020204030204" pitchFamily="34" charset="0"/>
              </a:rPr>
              <a:t>12/27 </a:t>
            </a:r>
            <a:r>
              <a:rPr lang="en-US" altLang="zh-TW" sz="1814" kern="0" dirty="0">
                <a:latin typeface="Calibri" panose="020F0502020204030204" pitchFamily="34" charset="0"/>
              </a:rPr>
              <a:t>17:00</a:t>
            </a:r>
            <a:r>
              <a:rPr lang="zh-TW" altLang="en-US" sz="1814" kern="0" dirty="0">
                <a:latin typeface="Calibri" panose="020F0502020204030204" pitchFamily="34" charset="0"/>
              </a:rPr>
              <a:t>前</a:t>
            </a:r>
            <a:endParaRPr lang="en-US" altLang="zh-TW" sz="1814" kern="0" dirty="0">
              <a:latin typeface="Calibri" panose="020F0502020204030204" pitchFamily="34" charset="0"/>
            </a:endParaRPr>
          </a:p>
          <a:p>
            <a:pPr marL="738487" lvl="1" indent="-240404" defTabSz="828972">
              <a:buFont typeface="+mj-lt"/>
              <a:buAutoNum type="arabicPeriod"/>
            </a:pPr>
            <a:r>
              <a:rPr lang="en-US" altLang="zh-TW" sz="1814" kern="0" dirty="0">
                <a:latin typeface="Calibri" panose="020F0502020204030204" pitchFamily="34" charset="0"/>
              </a:rPr>
              <a:t>B</a:t>
            </a:r>
            <a:r>
              <a:rPr lang="zh-TW" altLang="en-US" sz="1814" kern="0" dirty="0">
                <a:latin typeface="Calibri" panose="020F0502020204030204" pitchFamily="34" charset="0"/>
              </a:rPr>
              <a:t>班補交期限為 </a:t>
            </a:r>
            <a:r>
              <a:rPr lang="en-US" altLang="zh-TW" sz="1814" kern="0" dirty="0">
                <a:latin typeface="Calibri" panose="020F0502020204030204" pitchFamily="34" charset="0"/>
              </a:rPr>
              <a:t>12/24 </a:t>
            </a:r>
            <a:r>
              <a:rPr lang="en-US" altLang="zh-TW" sz="1814" kern="0" dirty="0">
                <a:latin typeface="Calibri" panose="020F0502020204030204" pitchFamily="34" charset="0"/>
              </a:rPr>
              <a:t>17:00</a:t>
            </a:r>
            <a:r>
              <a:rPr lang="zh-TW" altLang="en-US" sz="1814" kern="0" dirty="0">
                <a:latin typeface="Calibri" panose="020F0502020204030204" pitchFamily="34" charset="0"/>
              </a:rPr>
              <a:t>前</a:t>
            </a:r>
            <a:endParaRPr lang="en-US" altLang="zh-TW" sz="1814" kern="0" dirty="0">
              <a:latin typeface="Calibri" panose="020F0502020204030204" pitchFamily="34" charset="0"/>
            </a:endParaRPr>
          </a:p>
          <a:p>
            <a:pPr marL="323898" indent="-240404" defTabSz="828972">
              <a:buFont typeface="+mj-lt"/>
              <a:buAutoNum type="arabicPeriod"/>
            </a:pPr>
            <a:r>
              <a:rPr lang="zh-TW" altLang="en-US" sz="1814" kern="0" dirty="0">
                <a:latin typeface="Calibri" panose="020F0502020204030204" pitchFamily="34" charset="0"/>
              </a:rPr>
              <a:t>專題</a:t>
            </a:r>
            <a:r>
              <a:rPr lang="en-US" altLang="zh-TW" sz="1814" kern="0" dirty="0">
                <a:latin typeface="Calibri" panose="020F0502020204030204" pitchFamily="34" charset="0"/>
              </a:rPr>
              <a:t>2</a:t>
            </a:r>
            <a:r>
              <a:rPr lang="zh-TW" altLang="en-US" sz="1814" kern="0" dirty="0">
                <a:latin typeface="Calibri" panose="020F0502020204030204" pitchFamily="34" charset="0"/>
              </a:rPr>
              <a:t>：當次作業成績打</a:t>
            </a:r>
            <a:r>
              <a:rPr lang="en-US" altLang="zh-TW" sz="1814" kern="0" dirty="0">
                <a:latin typeface="Calibri" panose="020F0502020204030204" pitchFamily="34" charset="0"/>
              </a:rPr>
              <a:t>9</a:t>
            </a:r>
            <a:r>
              <a:rPr lang="zh-TW" altLang="en-US" sz="1814" kern="0" dirty="0">
                <a:latin typeface="Calibri" panose="020F0502020204030204" pitchFamily="34" charset="0"/>
              </a:rPr>
              <a:t>折 </a:t>
            </a:r>
            <a:endParaRPr lang="en-US" altLang="zh-TW" sz="1814" kern="0" dirty="0">
              <a:latin typeface="Calibri" panose="020F0502020204030204" pitchFamily="34" charset="0"/>
            </a:endParaRPr>
          </a:p>
          <a:p>
            <a:pPr marL="738487" lvl="1" indent="-240404" defTabSz="828972">
              <a:buFont typeface="+mj-lt"/>
              <a:buAutoNum type="arabicPeriod"/>
            </a:pPr>
            <a:r>
              <a:rPr lang="en-US" altLang="zh-TW" sz="1814" kern="0" dirty="0">
                <a:latin typeface="Calibri" panose="020F0502020204030204" pitchFamily="34" charset="0"/>
              </a:rPr>
              <a:t>A</a:t>
            </a:r>
            <a:r>
              <a:rPr lang="zh-TW" altLang="en-US" sz="1814" kern="0" dirty="0">
                <a:latin typeface="Calibri" panose="020F0502020204030204" pitchFamily="34" charset="0"/>
              </a:rPr>
              <a:t>班補交期限為 </a:t>
            </a:r>
            <a:r>
              <a:rPr lang="en-US" altLang="zh-TW" sz="1814" kern="0" dirty="0">
                <a:latin typeface="Calibri" panose="020F0502020204030204" pitchFamily="34" charset="0"/>
              </a:rPr>
              <a:t>1/14 </a:t>
            </a:r>
            <a:r>
              <a:rPr lang="zh-TW" altLang="en-US" sz="1814" kern="0" dirty="0">
                <a:latin typeface="Calibri" panose="020F0502020204030204" pitchFamily="34" charset="0"/>
              </a:rPr>
              <a:t> </a:t>
            </a:r>
            <a:r>
              <a:rPr lang="en-US" altLang="zh-TW" sz="1814" kern="0" dirty="0">
                <a:latin typeface="Calibri" panose="020F0502020204030204" pitchFamily="34" charset="0"/>
              </a:rPr>
              <a:t>17:00</a:t>
            </a:r>
            <a:r>
              <a:rPr lang="zh-TW" altLang="en-US" sz="1814" kern="0" dirty="0">
                <a:latin typeface="Calibri" panose="020F0502020204030204" pitchFamily="34" charset="0"/>
              </a:rPr>
              <a:t>前</a:t>
            </a:r>
            <a:endParaRPr lang="en-US" altLang="zh-TW" sz="1814" kern="0" dirty="0">
              <a:latin typeface="Calibri" panose="020F0502020204030204" pitchFamily="34" charset="0"/>
            </a:endParaRPr>
          </a:p>
          <a:p>
            <a:pPr marL="738487" lvl="1" indent="-240404" defTabSz="828972">
              <a:buFont typeface="+mj-lt"/>
              <a:buAutoNum type="arabicPeriod"/>
            </a:pPr>
            <a:r>
              <a:rPr lang="en-US" altLang="zh-TW" sz="1814" kern="0" dirty="0">
                <a:latin typeface="Calibri" panose="020F0502020204030204" pitchFamily="34" charset="0"/>
              </a:rPr>
              <a:t>B</a:t>
            </a:r>
            <a:r>
              <a:rPr lang="zh-TW" altLang="en-US" sz="1814" kern="0" dirty="0">
                <a:latin typeface="Calibri" panose="020F0502020204030204" pitchFamily="34" charset="0"/>
              </a:rPr>
              <a:t>班補交期限為 </a:t>
            </a:r>
            <a:r>
              <a:rPr lang="en-US" altLang="zh-TW" sz="1814" kern="0" dirty="0">
                <a:latin typeface="Calibri" panose="020F0502020204030204" pitchFamily="34" charset="0"/>
              </a:rPr>
              <a:t>1/12 </a:t>
            </a:r>
            <a:r>
              <a:rPr lang="zh-TW" altLang="en-US" sz="1814" kern="0" dirty="0">
                <a:latin typeface="Calibri" panose="020F0502020204030204" pitchFamily="34" charset="0"/>
              </a:rPr>
              <a:t> </a:t>
            </a:r>
            <a:r>
              <a:rPr lang="en-US" altLang="zh-TW" sz="1814" kern="0" dirty="0">
                <a:latin typeface="Calibri" panose="020F0502020204030204" pitchFamily="34" charset="0"/>
              </a:rPr>
              <a:t>17:00</a:t>
            </a:r>
            <a:r>
              <a:rPr lang="zh-TW" altLang="en-US" sz="1814" kern="0" dirty="0">
                <a:latin typeface="Calibri" panose="020F0502020204030204" pitchFamily="34" charset="0"/>
              </a:rPr>
              <a:t>前</a:t>
            </a:r>
            <a:endParaRPr lang="en-US" altLang="zh-TW" sz="1814" kern="0" dirty="0">
              <a:latin typeface="Calibri" panose="020F0502020204030204" pitchFamily="34" charset="0"/>
            </a:endParaRPr>
          </a:p>
          <a:p>
            <a:pPr marL="323898" indent="-240404" defTabSz="828972">
              <a:buFont typeface="+mj-lt"/>
              <a:buAutoNum type="arabicPeriod"/>
            </a:pPr>
            <a:r>
              <a:rPr lang="zh-TW" altLang="en-US" sz="1814" kern="0" dirty="0">
                <a:latin typeface="Calibri" panose="020F0502020204030204" pitchFamily="34" charset="0"/>
              </a:rPr>
              <a:t>超過補交期限不再受理補交。</a:t>
            </a:r>
            <a:endParaRPr lang="en-US" altLang="zh-CN" sz="1814" kern="0" dirty="0">
              <a:latin typeface="Calibri" panose="020F0502020204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1783273" y="2141188"/>
            <a:ext cx="2259106" cy="362759"/>
          </a:xfrm>
          <a:prstGeom prst="rect">
            <a:avLst/>
          </a:prstGeom>
          <a:effectLst/>
        </p:spPr>
        <p:txBody>
          <a:bodyPr wrap="none" lIns="82785" tIns="41386" rIns="82785" bIns="41386">
            <a:spAutoFit/>
          </a:bodyPr>
          <a:lstStyle/>
          <a:p>
            <a:pPr defTabSz="828972"/>
            <a:r>
              <a:rPr lang="zh-TW" altLang="en-US" sz="1814" b="1" kern="0" dirty="0">
                <a:solidFill>
                  <a:srgbClr val="0E457D"/>
                </a:solidFill>
                <a:latin typeface="Calibri" panose="020F0502020204030204" pitchFamily="34" charset="0"/>
              </a:rPr>
              <a:t>請假者補交作業規定</a:t>
            </a:r>
            <a:endParaRPr lang="zh-CN" altLang="en-US" sz="1814" b="1" kern="0" dirty="0">
              <a:solidFill>
                <a:srgbClr val="0E457D"/>
              </a:solidFill>
              <a:latin typeface="Calibri" panose="020F0502020204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7" name="文本框 56"/>
          <p:cNvSpPr txBox="1"/>
          <p:nvPr/>
        </p:nvSpPr>
        <p:spPr>
          <a:xfrm>
            <a:off x="2710187" y="5363751"/>
            <a:ext cx="8928850" cy="921117"/>
          </a:xfrm>
          <a:prstGeom prst="rect">
            <a:avLst/>
          </a:prstGeom>
          <a:noFill/>
        </p:spPr>
        <p:txBody>
          <a:bodyPr wrap="square" lIns="82785" tIns="41386" rIns="82785" bIns="41386" rtlCol="0">
            <a:spAutoFit/>
          </a:bodyPr>
          <a:lstStyle/>
          <a:p>
            <a:pPr marL="323898" indent="-240404" defTabSz="828972">
              <a:buFont typeface="+mj-lt"/>
              <a:buAutoNum type="arabicPeriod"/>
            </a:pPr>
            <a:r>
              <a:rPr lang="zh-TW" altLang="en-US" sz="1814" kern="0" dirty="0">
                <a:latin typeface="Calibri" panose="020F0502020204030204" pitchFamily="34" charset="0"/>
              </a:rPr>
              <a:t>教室內禁止飲食，飲料及食品請勿攜入。</a:t>
            </a:r>
            <a:endParaRPr lang="en-US" altLang="zh-TW" sz="1814" kern="0" dirty="0">
              <a:latin typeface="Calibri" panose="020F0502020204030204" pitchFamily="34" charset="0"/>
            </a:endParaRPr>
          </a:p>
          <a:p>
            <a:pPr marL="323898" indent="-240404" defTabSz="828972">
              <a:buFont typeface="+mj-lt"/>
              <a:buAutoNum type="arabicPeriod"/>
            </a:pPr>
            <a:r>
              <a:rPr lang="zh-TW" altLang="en-US" sz="1814" kern="0" dirty="0">
                <a:latin typeface="Calibri" panose="020F0502020204030204" pitchFamily="34" charset="0"/>
              </a:rPr>
              <a:t>離開時請將桌面清理乾淨，並將垃圾攜出。</a:t>
            </a:r>
          </a:p>
          <a:p>
            <a:pPr marL="323898" indent="-240404" defTabSz="828972">
              <a:buFont typeface="+mj-lt"/>
              <a:buAutoNum type="arabicPeriod"/>
            </a:pPr>
            <a:r>
              <a:rPr lang="zh-TW" altLang="en-US" sz="1814" kern="0" dirty="0">
                <a:latin typeface="Calibri" panose="020F0502020204030204" pitchFamily="34" charset="0"/>
              </a:rPr>
              <a:t>請勿隨意拔插網路線或電源線，若電腦出現問題請向助教反映。</a:t>
            </a:r>
          </a:p>
        </p:txBody>
      </p:sp>
      <p:sp>
        <p:nvSpPr>
          <p:cNvPr id="18" name="矩形 17"/>
          <p:cNvSpPr/>
          <p:nvPr/>
        </p:nvSpPr>
        <p:spPr>
          <a:xfrm>
            <a:off x="1809603" y="5028544"/>
            <a:ext cx="1561799" cy="362759"/>
          </a:xfrm>
          <a:prstGeom prst="rect">
            <a:avLst/>
          </a:prstGeom>
          <a:effectLst/>
        </p:spPr>
        <p:txBody>
          <a:bodyPr wrap="none" lIns="82785" tIns="41386" rIns="82785" bIns="41386">
            <a:spAutoFit/>
          </a:bodyPr>
          <a:lstStyle/>
          <a:p>
            <a:pPr defTabSz="828972"/>
            <a:r>
              <a:rPr lang="zh-TW" altLang="en-US" sz="1814" b="1" kern="0" dirty="0">
                <a:solidFill>
                  <a:srgbClr val="0E457D"/>
                </a:solidFill>
                <a:latin typeface="Calibri" panose="020F0502020204030204" pitchFamily="34" charset="0"/>
              </a:rPr>
              <a:t>其他注意事項</a:t>
            </a:r>
          </a:p>
        </p:txBody>
      </p:sp>
      <p:grpSp>
        <p:nvGrpSpPr>
          <p:cNvPr id="19" name="群組 18"/>
          <p:cNvGrpSpPr/>
          <p:nvPr/>
        </p:nvGrpSpPr>
        <p:grpSpPr>
          <a:xfrm>
            <a:off x="2024501" y="5518949"/>
            <a:ext cx="620389" cy="546921"/>
            <a:chOff x="1019361" y="4343867"/>
            <a:chExt cx="684151" cy="603132"/>
          </a:xfrm>
        </p:grpSpPr>
        <p:sp>
          <p:nvSpPr>
            <p:cNvPr id="20" name="圆角矩形 44"/>
            <p:cNvSpPr/>
            <p:nvPr/>
          </p:nvSpPr>
          <p:spPr>
            <a:xfrm>
              <a:off x="1019361" y="4343867"/>
              <a:ext cx="684151" cy="603132"/>
            </a:xfrm>
            <a:prstGeom prst="roundRect">
              <a:avLst/>
            </a:prstGeom>
            <a:gradFill flip="none" rotWithShape="1">
              <a:gsLst>
                <a:gs pos="0">
                  <a:srgbClr val="A5A5A5">
                    <a:lumMod val="5000"/>
                    <a:lumOff val="95000"/>
                  </a:srgbClr>
                </a:gs>
                <a:gs pos="74000">
                  <a:srgbClr val="A5A5A5">
                    <a:lumMod val="45000"/>
                    <a:lumOff val="55000"/>
                  </a:srgbClr>
                </a:gs>
                <a:gs pos="83000">
                  <a:srgbClr val="A5A5A5">
                    <a:lumMod val="45000"/>
                    <a:lumOff val="55000"/>
                  </a:srgbClr>
                </a:gs>
                <a:gs pos="100000">
                  <a:srgbClr val="A5A5A5">
                    <a:lumMod val="30000"/>
                    <a:lumOff val="70000"/>
                  </a:srgbClr>
                </a:gs>
              </a:gsLst>
              <a:lin ang="18900000" scaled="1"/>
              <a:tileRect/>
            </a:gradFill>
            <a:ln w="12700" cap="flat" cmpd="sng" algn="ctr">
              <a:gradFill flip="none" rotWithShape="1">
                <a:gsLst>
                  <a:gs pos="0">
                    <a:srgbClr val="A5A5A5">
                      <a:lumMod val="5000"/>
                      <a:lumOff val="95000"/>
                    </a:srgbClr>
                  </a:gs>
                  <a:gs pos="74000">
                    <a:srgbClr val="A5A5A5">
                      <a:lumMod val="45000"/>
                      <a:lumOff val="55000"/>
                    </a:srgbClr>
                  </a:gs>
                  <a:gs pos="83000">
                    <a:srgbClr val="A5A5A5">
                      <a:lumMod val="45000"/>
                      <a:lumOff val="55000"/>
                    </a:srgbClr>
                  </a:gs>
                  <a:gs pos="100000">
                    <a:srgbClr val="A5A5A5">
                      <a:lumMod val="30000"/>
                      <a:lumOff val="70000"/>
                    </a:srgbClr>
                  </a:gs>
                </a:gsLst>
                <a:lin ang="8100000" scaled="1"/>
                <a:tileRect/>
              </a:gradFill>
              <a:prstDash val="solid"/>
              <a:miter lim="800000"/>
            </a:ln>
            <a:effectLst>
              <a:outerShdw blurRad="127000" dist="50800" dir="8100000" algn="tr" rotWithShape="0">
                <a:sysClr val="window" lastClr="FFFFFF">
                  <a:lumMod val="50000"/>
                  <a:alpha val="40000"/>
                </a:sysClr>
              </a:outerShdw>
            </a:effectLst>
          </p:spPr>
          <p:txBody>
            <a:bodyPr rtlCol="0" anchor="ctr"/>
            <a:lstStyle/>
            <a:p>
              <a:pPr algn="ctr" defTabSz="828972"/>
              <a:endParaRPr lang="zh-CN" altLang="en-US" sz="1814" kern="0">
                <a:solidFill>
                  <a:sysClr val="window" lastClr="FFFFFF"/>
                </a:solidFill>
                <a:latin typeface="Calibri" panose="020F0502020204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1" name="Freeform 452"/>
            <p:cNvSpPr/>
            <p:nvPr/>
          </p:nvSpPr>
          <p:spPr>
            <a:xfrm>
              <a:off x="1145082" y="4429734"/>
              <a:ext cx="432708" cy="432486"/>
            </a:xfrm>
            <a:custGeom>
              <a:avLst/>
              <a:gdLst/>
              <a:ahLst/>
              <a:cxnLst/>
              <a:rect l="l" t="t" r="r" b="b"/>
              <a:pathLst>
                <a:path w="432708" h="432707">
                  <a:moveTo>
                    <a:pt x="216354" y="0"/>
                  </a:moveTo>
                  <a:cubicBezTo>
                    <a:pt x="255606" y="0"/>
                    <a:pt x="291805" y="9672"/>
                    <a:pt x="324953" y="29016"/>
                  </a:cubicBezTo>
                  <a:cubicBezTo>
                    <a:pt x="358101" y="48360"/>
                    <a:pt x="384347" y="74606"/>
                    <a:pt x="403691" y="107754"/>
                  </a:cubicBezTo>
                  <a:cubicBezTo>
                    <a:pt x="423036" y="140902"/>
                    <a:pt x="432708" y="177102"/>
                    <a:pt x="432708" y="216353"/>
                  </a:cubicBezTo>
                  <a:cubicBezTo>
                    <a:pt x="432708" y="255605"/>
                    <a:pt x="423036" y="291805"/>
                    <a:pt x="403691" y="324953"/>
                  </a:cubicBezTo>
                  <a:cubicBezTo>
                    <a:pt x="384347" y="358101"/>
                    <a:pt x="358101" y="384347"/>
                    <a:pt x="324953" y="403691"/>
                  </a:cubicBezTo>
                  <a:cubicBezTo>
                    <a:pt x="291805" y="423035"/>
                    <a:pt x="255606" y="432707"/>
                    <a:pt x="216354" y="432707"/>
                  </a:cubicBezTo>
                  <a:cubicBezTo>
                    <a:pt x="177102" y="432707"/>
                    <a:pt x="140902" y="423035"/>
                    <a:pt x="107755" y="403691"/>
                  </a:cubicBezTo>
                  <a:cubicBezTo>
                    <a:pt x="74607" y="384347"/>
                    <a:pt x="48361" y="358101"/>
                    <a:pt x="29017" y="324953"/>
                  </a:cubicBezTo>
                  <a:cubicBezTo>
                    <a:pt x="9672" y="291805"/>
                    <a:pt x="0" y="255605"/>
                    <a:pt x="0" y="216353"/>
                  </a:cubicBezTo>
                  <a:cubicBezTo>
                    <a:pt x="0" y="177102"/>
                    <a:pt x="9672" y="140902"/>
                    <a:pt x="29017" y="107754"/>
                  </a:cubicBezTo>
                  <a:cubicBezTo>
                    <a:pt x="48361" y="74606"/>
                    <a:pt x="74607" y="48360"/>
                    <a:pt x="107755" y="29016"/>
                  </a:cubicBezTo>
                  <a:cubicBezTo>
                    <a:pt x="140902" y="9672"/>
                    <a:pt x="177102" y="0"/>
                    <a:pt x="216354" y="0"/>
                  </a:cubicBezTo>
                  <a:close/>
                  <a:moveTo>
                    <a:pt x="185366" y="72118"/>
                  </a:moveTo>
                  <a:cubicBezTo>
                    <a:pt x="182736" y="72118"/>
                    <a:pt x="180483" y="72869"/>
                    <a:pt x="178605" y="74371"/>
                  </a:cubicBezTo>
                  <a:cubicBezTo>
                    <a:pt x="176727" y="75498"/>
                    <a:pt x="175788" y="77188"/>
                    <a:pt x="175788" y="79442"/>
                  </a:cubicBezTo>
                  <a:lnTo>
                    <a:pt x="180577" y="254384"/>
                  </a:lnTo>
                  <a:cubicBezTo>
                    <a:pt x="180577" y="256262"/>
                    <a:pt x="181516" y="257906"/>
                    <a:pt x="183394" y="259314"/>
                  </a:cubicBezTo>
                  <a:cubicBezTo>
                    <a:pt x="185272" y="260723"/>
                    <a:pt x="187525" y="261427"/>
                    <a:pt x="190155" y="261427"/>
                  </a:cubicBezTo>
                  <a:lnTo>
                    <a:pt x="242271" y="261427"/>
                  </a:lnTo>
                  <a:cubicBezTo>
                    <a:pt x="244901" y="261427"/>
                    <a:pt x="247107" y="260723"/>
                    <a:pt x="248891" y="259314"/>
                  </a:cubicBezTo>
                  <a:cubicBezTo>
                    <a:pt x="250676" y="257906"/>
                    <a:pt x="251662" y="256262"/>
                    <a:pt x="251849" y="254384"/>
                  </a:cubicBezTo>
                  <a:lnTo>
                    <a:pt x="256920" y="79442"/>
                  </a:lnTo>
                  <a:cubicBezTo>
                    <a:pt x="256920" y="77188"/>
                    <a:pt x="255981" y="75498"/>
                    <a:pt x="254103" y="74371"/>
                  </a:cubicBezTo>
                  <a:cubicBezTo>
                    <a:pt x="252225" y="72869"/>
                    <a:pt x="249971" y="72118"/>
                    <a:pt x="247342" y="72118"/>
                  </a:cubicBezTo>
                  <a:lnTo>
                    <a:pt x="185366" y="72118"/>
                  </a:lnTo>
                  <a:close/>
                  <a:moveTo>
                    <a:pt x="189591" y="288471"/>
                  </a:moveTo>
                  <a:cubicBezTo>
                    <a:pt x="187150" y="288471"/>
                    <a:pt x="184990" y="289410"/>
                    <a:pt x="183112" y="291288"/>
                  </a:cubicBezTo>
                  <a:cubicBezTo>
                    <a:pt x="181234" y="293167"/>
                    <a:pt x="180295" y="295326"/>
                    <a:pt x="180295" y="297768"/>
                  </a:cubicBezTo>
                  <a:lnTo>
                    <a:pt x="180295" y="351293"/>
                  </a:lnTo>
                  <a:cubicBezTo>
                    <a:pt x="180295" y="353734"/>
                    <a:pt x="181234" y="355894"/>
                    <a:pt x="183112" y="357772"/>
                  </a:cubicBezTo>
                  <a:cubicBezTo>
                    <a:pt x="184990" y="359650"/>
                    <a:pt x="187150" y="360589"/>
                    <a:pt x="189591" y="360589"/>
                  </a:cubicBezTo>
                  <a:lnTo>
                    <a:pt x="243680" y="360589"/>
                  </a:lnTo>
                  <a:cubicBezTo>
                    <a:pt x="246121" y="360589"/>
                    <a:pt x="248187" y="359697"/>
                    <a:pt x="249877" y="357913"/>
                  </a:cubicBezTo>
                  <a:cubicBezTo>
                    <a:pt x="251568" y="356129"/>
                    <a:pt x="252413" y="353922"/>
                    <a:pt x="252413" y="351293"/>
                  </a:cubicBezTo>
                  <a:lnTo>
                    <a:pt x="252413" y="297768"/>
                  </a:lnTo>
                  <a:cubicBezTo>
                    <a:pt x="252413" y="295139"/>
                    <a:pt x="251568" y="292932"/>
                    <a:pt x="249877" y="291147"/>
                  </a:cubicBezTo>
                  <a:cubicBezTo>
                    <a:pt x="248187" y="289363"/>
                    <a:pt x="246121" y="288471"/>
                    <a:pt x="243680" y="288471"/>
                  </a:cubicBezTo>
                  <a:lnTo>
                    <a:pt x="189591" y="288471"/>
                  </a:lnTo>
                  <a:close/>
                </a:path>
              </a:pathLst>
            </a:custGeom>
            <a:solidFill>
              <a:srgbClr val="0E457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291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en-US" sz="1224" kern="0">
                <a:solidFill>
                  <a:prstClr val="white"/>
                </a:solidFill>
                <a:latin typeface="Calibri" panose="020F0502020204030204"/>
                <a:ea typeface="+mn-ea"/>
              </a:endParaRPr>
            </a:p>
          </p:txBody>
        </p:sp>
      </p:grpSp>
      <p:cxnSp>
        <p:nvCxnSpPr>
          <p:cNvPr id="22" name="直接连接符 20">
            <a:extLst>
              <a:ext uri="{FF2B5EF4-FFF2-40B4-BE49-F238E27FC236}">
                <a16:creationId xmlns:a16="http://schemas.microsoft.com/office/drawing/2014/main" id="{C186BEE0-6575-433F-BEEC-C2DF10EBAC15}"/>
              </a:ext>
            </a:extLst>
          </p:cNvPr>
          <p:cNvCxnSpPr/>
          <p:nvPr/>
        </p:nvCxnSpPr>
        <p:spPr>
          <a:xfrm flipV="1">
            <a:off x="1861326" y="4818208"/>
            <a:ext cx="9083067" cy="3608"/>
          </a:xfrm>
          <a:prstGeom prst="line">
            <a:avLst/>
          </a:prstGeom>
          <a:noFill/>
          <a:ln w="317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grpSp>
        <p:nvGrpSpPr>
          <p:cNvPr id="23" name="群組 22"/>
          <p:cNvGrpSpPr/>
          <p:nvPr/>
        </p:nvGrpSpPr>
        <p:grpSpPr>
          <a:xfrm>
            <a:off x="1998172" y="2817170"/>
            <a:ext cx="620389" cy="546921"/>
            <a:chOff x="1019361" y="2465828"/>
            <a:chExt cx="684151" cy="603132"/>
          </a:xfrm>
        </p:grpSpPr>
        <p:sp>
          <p:nvSpPr>
            <p:cNvPr id="24" name="圆角矩形 50"/>
            <p:cNvSpPr/>
            <p:nvPr/>
          </p:nvSpPr>
          <p:spPr>
            <a:xfrm>
              <a:off x="1019361" y="2465828"/>
              <a:ext cx="684151" cy="603132"/>
            </a:xfrm>
            <a:prstGeom prst="roundRect">
              <a:avLst/>
            </a:prstGeom>
            <a:gradFill flip="none" rotWithShape="1">
              <a:gsLst>
                <a:gs pos="0">
                  <a:srgbClr val="A5A5A5">
                    <a:lumMod val="5000"/>
                    <a:lumOff val="95000"/>
                  </a:srgbClr>
                </a:gs>
                <a:gs pos="74000">
                  <a:srgbClr val="A5A5A5">
                    <a:lumMod val="45000"/>
                    <a:lumOff val="55000"/>
                  </a:srgbClr>
                </a:gs>
                <a:gs pos="83000">
                  <a:srgbClr val="A5A5A5">
                    <a:lumMod val="45000"/>
                    <a:lumOff val="55000"/>
                  </a:srgbClr>
                </a:gs>
                <a:gs pos="100000">
                  <a:srgbClr val="A5A5A5">
                    <a:lumMod val="30000"/>
                    <a:lumOff val="70000"/>
                  </a:srgbClr>
                </a:gs>
              </a:gsLst>
              <a:lin ang="18900000" scaled="1"/>
              <a:tileRect/>
            </a:gradFill>
            <a:ln w="12700" cap="flat" cmpd="sng" algn="ctr">
              <a:gradFill flip="none" rotWithShape="1">
                <a:gsLst>
                  <a:gs pos="0">
                    <a:srgbClr val="A5A5A5">
                      <a:lumMod val="5000"/>
                      <a:lumOff val="95000"/>
                    </a:srgbClr>
                  </a:gs>
                  <a:gs pos="74000">
                    <a:srgbClr val="A5A5A5">
                      <a:lumMod val="45000"/>
                      <a:lumOff val="55000"/>
                    </a:srgbClr>
                  </a:gs>
                  <a:gs pos="83000">
                    <a:srgbClr val="A5A5A5">
                      <a:lumMod val="45000"/>
                      <a:lumOff val="55000"/>
                    </a:srgbClr>
                  </a:gs>
                  <a:gs pos="100000">
                    <a:srgbClr val="A5A5A5">
                      <a:lumMod val="30000"/>
                      <a:lumOff val="70000"/>
                    </a:srgbClr>
                  </a:gs>
                </a:gsLst>
                <a:lin ang="8100000" scaled="1"/>
                <a:tileRect/>
              </a:gradFill>
              <a:prstDash val="solid"/>
              <a:miter lim="800000"/>
            </a:ln>
            <a:effectLst>
              <a:outerShdw blurRad="127000" dist="50800" dir="8100000" algn="tr" rotWithShape="0">
                <a:sysClr val="window" lastClr="FFFFFF">
                  <a:lumMod val="50000"/>
                  <a:alpha val="40000"/>
                </a:sysClr>
              </a:outerShdw>
            </a:effectLst>
          </p:spPr>
          <p:txBody>
            <a:bodyPr rtlCol="0" anchor="ctr"/>
            <a:lstStyle/>
            <a:p>
              <a:pPr algn="ctr" defTabSz="828972"/>
              <a:endParaRPr lang="zh-CN" altLang="en-US" sz="1814" kern="0">
                <a:solidFill>
                  <a:sysClr val="window" lastClr="FFFFFF"/>
                </a:solidFill>
                <a:latin typeface="Calibri" panose="020F0502020204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5" name="Freeform 477"/>
            <p:cNvSpPr/>
            <p:nvPr/>
          </p:nvSpPr>
          <p:spPr>
            <a:xfrm>
              <a:off x="1145637" y="2528952"/>
              <a:ext cx="396000" cy="468000"/>
            </a:xfrm>
            <a:custGeom>
              <a:avLst/>
              <a:gdLst>
                <a:gd name="connsiteX0" fmla="*/ 117191 w 432706"/>
                <a:gd name="connsiteY0" fmla="*/ 360589 h 504825"/>
                <a:gd name="connsiteX1" fmla="*/ 315515 w 432706"/>
                <a:gd name="connsiteY1" fmla="*/ 360589 h 504825"/>
                <a:gd name="connsiteX2" fmla="*/ 321994 w 432706"/>
                <a:gd name="connsiteY2" fmla="*/ 363125 h 504825"/>
                <a:gd name="connsiteX3" fmla="*/ 324530 w 432706"/>
                <a:gd name="connsiteY3" fmla="*/ 369604 h 504825"/>
                <a:gd name="connsiteX4" fmla="*/ 324530 w 432706"/>
                <a:gd name="connsiteY4" fmla="*/ 387634 h 504825"/>
                <a:gd name="connsiteX5" fmla="*/ 321994 w 432706"/>
                <a:gd name="connsiteY5" fmla="*/ 394113 h 504825"/>
                <a:gd name="connsiteX6" fmla="*/ 315515 w 432706"/>
                <a:gd name="connsiteY6" fmla="*/ 396648 h 504825"/>
                <a:gd name="connsiteX7" fmla="*/ 117191 w 432706"/>
                <a:gd name="connsiteY7" fmla="*/ 396648 h 504825"/>
                <a:gd name="connsiteX8" fmla="*/ 110712 w 432706"/>
                <a:gd name="connsiteY8" fmla="*/ 394113 h 504825"/>
                <a:gd name="connsiteX9" fmla="*/ 108176 w 432706"/>
                <a:gd name="connsiteY9" fmla="*/ 387634 h 504825"/>
                <a:gd name="connsiteX10" fmla="*/ 108176 w 432706"/>
                <a:gd name="connsiteY10" fmla="*/ 369604 h 504825"/>
                <a:gd name="connsiteX11" fmla="*/ 110712 w 432706"/>
                <a:gd name="connsiteY11" fmla="*/ 363125 h 504825"/>
                <a:gd name="connsiteX12" fmla="*/ 117191 w 432706"/>
                <a:gd name="connsiteY12" fmla="*/ 360589 h 504825"/>
                <a:gd name="connsiteX13" fmla="*/ 117191 w 432706"/>
                <a:gd name="connsiteY13" fmla="*/ 288471 h 504825"/>
                <a:gd name="connsiteX14" fmla="*/ 315515 w 432706"/>
                <a:gd name="connsiteY14" fmla="*/ 288471 h 504825"/>
                <a:gd name="connsiteX15" fmla="*/ 321994 w 432706"/>
                <a:gd name="connsiteY15" fmla="*/ 291007 h 504825"/>
                <a:gd name="connsiteX16" fmla="*/ 324530 w 432706"/>
                <a:gd name="connsiteY16" fmla="*/ 297486 h 504825"/>
                <a:gd name="connsiteX17" fmla="*/ 324530 w 432706"/>
                <a:gd name="connsiteY17" fmla="*/ 315516 h 504825"/>
                <a:gd name="connsiteX18" fmla="*/ 321994 w 432706"/>
                <a:gd name="connsiteY18" fmla="*/ 321995 h 504825"/>
                <a:gd name="connsiteX19" fmla="*/ 315515 w 432706"/>
                <a:gd name="connsiteY19" fmla="*/ 324530 h 504825"/>
                <a:gd name="connsiteX20" fmla="*/ 117191 w 432706"/>
                <a:gd name="connsiteY20" fmla="*/ 324530 h 504825"/>
                <a:gd name="connsiteX21" fmla="*/ 110712 w 432706"/>
                <a:gd name="connsiteY21" fmla="*/ 321995 h 504825"/>
                <a:gd name="connsiteX22" fmla="*/ 108176 w 432706"/>
                <a:gd name="connsiteY22" fmla="*/ 315516 h 504825"/>
                <a:gd name="connsiteX23" fmla="*/ 108176 w 432706"/>
                <a:gd name="connsiteY23" fmla="*/ 297486 h 504825"/>
                <a:gd name="connsiteX24" fmla="*/ 110712 w 432706"/>
                <a:gd name="connsiteY24" fmla="*/ 291007 h 504825"/>
                <a:gd name="connsiteX25" fmla="*/ 117191 w 432706"/>
                <a:gd name="connsiteY25" fmla="*/ 288471 h 504825"/>
                <a:gd name="connsiteX26" fmla="*/ 117191 w 432706"/>
                <a:gd name="connsiteY26" fmla="*/ 216353 h 504825"/>
                <a:gd name="connsiteX27" fmla="*/ 315515 w 432706"/>
                <a:gd name="connsiteY27" fmla="*/ 216353 h 504825"/>
                <a:gd name="connsiteX28" fmla="*/ 321994 w 432706"/>
                <a:gd name="connsiteY28" fmla="*/ 218888 h 504825"/>
                <a:gd name="connsiteX29" fmla="*/ 324530 w 432706"/>
                <a:gd name="connsiteY29" fmla="*/ 225367 h 504825"/>
                <a:gd name="connsiteX30" fmla="*/ 324530 w 432706"/>
                <a:gd name="connsiteY30" fmla="*/ 243397 h 504825"/>
                <a:gd name="connsiteX31" fmla="*/ 321994 w 432706"/>
                <a:gd name="connsiteY31" fmla="*/ 249876 h 504825"/>
                <a:gd name="connsiteX32" fmla="*/ 315515 w 432706"/>
                <a:gd name="connsiteY32" fmla="*/ 252411 h 504825"/>
                <a:gd name="connsiteX33" fmla="*/ 117191 w 432706"/>
                <a:gd name="connsiteY33" fmla="*/ 252411 h 504825"/>
                <a:gd name="connsiteX34" fmla="*/ 110712 w 432706"/>
                <a:gd name="connsiteY34" fmla="*/ 249876 h 504825"/>
                <a:gd name="connsiteX35" fmla="*/ 108176 w 432706"/>
                <a:gd name="connsiteY35" fmla="*/ 243397 h 504825"/>
                <a:gd name="connsiteX36" fmla="*/ 108176 w 432706"/>
                <a:gd name="connsiteY36" fmla="*/ 225367 h 504825"/>
                <a:gd name="connsiteX37" fmla="*/ 110712 w 432706"/>
                <a:gd name="connsiteY37" fmla="*/ 218888 h 504825"/>
                <a:gd name="connsiteX38" fmla="*/ 117191 w 432706"/>
                <a:gd name="connsiteY38" fmla="*/ 216353 h 504825"/>
                <a:gd name="connsiteX39" fmla="*/ 288471 w 432706"/>
                <a:gd name="connsiteY39" fmla="*/ 38312 h 504825"/>
                <a:gd name="connsiteX40" fmla="*/ 288471 w 432706"/>
                <a:gd name="connsiteY40" fmla="*/ 144236 h 504825"/>
                <a:gd name="connsiteX41" fmla="*/ 394394 w 432706"/>
                <a:gd name="connsiteY41" fmla="*/ 144236 h 504825"/>
                <a:gd name="connsiteX42" fmla="*/ 388196 w 432706"/>
                <a:gd name="connsiteY42" fmla="*/ 132685 h 504825"/>
                <a:gd name="connsiteX43" fmla="*/ 300021 w 432706"/>
                <a:gd name="connsiteY43" fmla="*/ 44510 h 504825"/>
                <a:gd name="connsiteX44" fmla="*/ 288471 w 432706"/>
                <a:gd name="connsiteY44" fmla="*/ 38312 h 504825"/>
                <a:gd name="connsiteX45" fmla="*/ 36059 w 432706"/>
                <a:gd name="connsiteY45" fmla="*/ 36059 h 504825"/>
                <a:gd name="connsiteX46" fmla="*/ 36059 w 432706"/>
                <a:gd name="connsiteY46" fmla="*/ 468766 h 504825"/>
                <a:gd name="connsiteX47" fmla="*/ 396648 w 432706"/>
                <a:gd name="connsiteY47" fmla="*/ 468766 h 504825"/>
                <a:gd name="connsiteX48" fmla="*/ 396648 w 432706"/>
                <a:gd name="connsiteY48" fmla="*/ 180295 h 504825"/>
                <a:gd name="connsiteX49" fmla="*/ 279456 w 432706"/>
                <a:gd name="connsiteY49" fmla="*/ 180295 h 504825"/>
                <a:gd name="connsiteX50" fmla="*/ 260300 w 432706"/>
                <a:gd name="connsiteY50" fmla="*/ 172407 h 504825"/>
                <a:gd name="connsiteX51" fmla="*/ 252412 w 432706"/>
                <a:gd name="connsiteY51" fmla="*/ 153251 h 504825"/>
                <a:gd name="connsiteX52" fmla="*/ 252412 w 432706"/>
                <a:gd name="connsiteY52" fmla="*/ 36059 h 504825"/>
                <a:gd name="connsiteX53" fmla="*/ 27044 w 432706"/>
                <a:gd name="connsiteY53" fmla="*/ 0 h 504825"/>
                <a:gd name="connsiteX54" fmla="*/ 279456 w 432706"/>
                <a:gd name="connsiteY54" fmla="*/ 0 h 504825"/>
                <a:gd name="connsiteX55" fmla="*/ 304246 w 432706"/>
                <a:gd name="connsiteY55" fmla="*/ 5634 h 504825"/>
                <a:gd name="connsiteX56" fmla="*/ 325656 w 432706"/>
                <a:gd name="connsiteY56" fmla="*/ 19156 h 504825"/>
                <a:gd name="connsiteX57" fmla="*/ 413550 w 432706"/>
                <a:gd name="connsiteY57" fmla="*/ 107050 h 504825"/>
                <a:gd name="connsiteX58" fmla="*/ 427073 w 432706"/>
                <a:gd name="connsiteY58" fmla="*/ 128460 h 504825"/>
                <a:gd name="connsiteX59" fmla="*/ 432706 w 432706"/>
                <a:gd name="connsiteY59" fmla="*/ 153251 h 504825"/>
                <a:gd name="connsiteX60" fmla="*/ 432706 w 432706"/>
                <a:gd name="connsiteY60" fmla="*/ 477781 h 504825"/>
                <a:gd name="connsiteX61" fmla="*/ 424818 w 432706"/>
                <a:gd name="connsiteY61" fmla="*/ 496937 h 504825"/>
                <a:gd name="connsiteX62" fmla="*/ 405662 w 432706"/>
                <a:gd name="connsiteY62" fmla="*/ 504825 h 504825"/>
                <a:gd name="connsiteX63" fmla="*/ 27044 w 432706"/>
                <a:gd name="connsiteY63" fmla="*/ 504825 h 504825"/>
                <a:gd name="connsiteX64" fmla="*/ 7888 w 432706"/>
                <a:gd name="connsiteY64" fmla="*/ 496937 h 504825"/>
                <a:gd name="connsiteX65" fmla="*/ 0 w 432706"/>
                <a:gd name="connsiteY65" fmla="*/ 477781 h 504825"/>
                <a:gd name="connsiteX66" fmla="*/ 0 w 432706"/>
                <a:gd name="connsiteY66" fmla="*/ 27044 h 504825"/>
                <a:gd name="connsiteX67" fmla="*/ 7888 w 432706"/>
                <a:gd name="connsiteY67" fmla="*/ 7888 h 504825"/>
                <a:gd name="connsiteX68" fmla="*/ 27044 w 432706"/>
                <a:gd name="connsiteY68" fmla="*/ 0 h 504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432706" h="504825">
                  <a:moveTo>
                    <a:pt x="117191" y="360589"/>
                  </a:moveTo>
                  <a:lnTo>
                    <a:pt x="315515" y="360589"/>
                  </a:lnTo>
                  <a:cubicBezTo>
                    <a:pt x="318144" y="360589"/>
                    <a:pt x="320304" y="361434"/>
                    <a:pt x="321994" y="363125"/>
                  </a:cubicBezTo>
                  <a:cubicBezTo>
                    <a:pt x="323684" y="364815"/>
                    <a:pt x="324530" y="366975"/>
                    <a:pt x="324530" y="369604"/>
                  </a:cubicBezTo>
                  <a:lnTo>
                    <a:pt x="324530" y="387634"/>
                  </a:lnTo>
                  <a:cubicBezTo>
                    <a:pt x="324530" y="390263"/>
                    <a:pt x="323684" y="392423"/>
                    <a:pt x="321994" y="394113"/>
                  </a:cubicBezTo>
                  <a:cubicBezTo>
                    <a:pt x="320304" y="395803"/>
                    <a:pt x="318144" y="396648"/>
                    <a:pt x="315515" y="396648"/>
                  </a:cubicBezTo>
                  <a:lnTo>
                    <a:pt x="117191" y="396648"/>
                  </a:lnTo>
                  <a:cubicBezTo>
                    <a:pt x="114562" y="396648"/>
                    <a:pt x="112402" y="395803"/>
                    <a:pt x="110712" y="394113"/>
                  </a:cubicBezTo>
                  <a:cubicBezTo>
                    <a:pt x="109021" y="392423"/>
                    <a:pt x="108176" y="390263"/>
                    <a:pt x="108176" y="387634"/>
                  </a:cubicBezTo>
                  <a:lnTo>
                    <a:pt x="108176" y="369604"/>
                  </a:lnTo>
                  <a:cubicBezTo>
                    <a:pt x="108176" y="366975"/>
                    <a:pt x="109021" y="364815"/>
                    <a:pt x="110712" y="363125"/>
                  </a:cubicBezTo>
                  <a:cubicBezTo>
                    <a:pt x="112402" y="361434"/>
                    <a:pt x="114562" y="360589"/>
                    <a:pt x="117191" y="360589"/>
                  </a:cubicBezTo>
                  <a:close/>
                  <a:moveTo>
                    <a:pt x="117191" y="288471"/>
                  </a:moveTo>
                  <a:lnTo>
                    <a:pt x="315515" y="288471"/>
                  </a:lnTo>
                  <a:cubicBezTo>
                    <a:pt x="318144" y="288471"/>
                    <a:pt x="320304" y="289317"/>
                    <a:pt x="321994" y="291007"/>
                  </a:cubicBezTo>
                  <a:cubicBezTo>
                    <a:pt x="323684" y="292697"/>
                    <a:pt x="324530" y="294857"/>
                    <a:pt x="324530" y="297486"/>
                  </a:cubicBezTo>
                  <a:lnTo>
                    <a:pt x="324530" y="315516"/>
                  </a:lnTo>
                  <a:cubicBezTo>
                    <a:pt x="324530" y="318145"/>
                    <a:pt x="323684" y="320305"/>
                    <a:pt x="321994" y="321995"/>
                  </a:cubicBezTo>
                  <a:cubicBezTo>
                    <a:pt x="320304" y="323685"/>
                    <a:pt x="318144" y="324530"/>
                    <a:pt x="315515" y="324530"/>
                  </a:cubicBezTo>
                  <a:lnTo>
                    <a:pt x="117191" y="324530"/>
                  </a:lnTo>
                  <a:cubicBezTo>
                    <a:pt x="114562" y="324530"/>
                    <a:pt x="112402" y="323685"/>
                    <a:pt x="110712" y="321995"/>
                  </a:cubicBezTo>
                  <a:cubicBezTo>
                    <a:pt x="109021" y="320305"/>
                    <a:pt x="108176" y="318145"/>
                    <a:pt x="108176" y="315516"/>
                  </a:cubicBezTo>
                  <a:lnTo>
                    <a:pt x="108176" y="297486"/>
                  </a:lnTo>
                  <a:cubicBezTo>
                    <a:pt x="108176" y="294857"/>
                    <a:pt x="109021" y="292697"/>
                    <a:pt x="110712" y="291007"/>
                  </a:cubicBezTo>
                  <a:cubicBezTo>
                    <a:pt x="112402" y="289317"/>
                    <a:pt x="114562" y="288471"/>
                    <a:pt x="117191" y="288471"/>
                  </a:cubicBezTo>
                  <a:close/>
                  <a:moveTo>
                    <a:pt x="117191" y="216353"/>
                  </a:moveTo>
                  <a:lnTo>
                    <a:pt x="315515" y="216353"/>
                  </a:lnTo>
                  <a:cubicBezTo>
                    <a:pt x="318144" y="216353"/>
                    <a:pt x="320304" y="217198"/>
                    <a:pt x="321994" y="218888"/>
                  </a:cubicBezTo>
                  <a:cubicBezTo>
                    <a:pt x="323684" y="220578"/>
                    <a:pt x="324530" y="222738"/>
                    <a:pt x="324530" y="225367"/>
                  </a:cubicBezTo>
                  <a:lnTo>
                    <a:pt x="324530" y="243397"/>
                  </a:lnTo>
                  <a:cubicBezTo>
                    <a:pt x="324530" y="246026"/>
                    <a:pt x="323684" y="248186"/>
                    <a:pt x="321994" y="249876"/>
                  </a:cubicBezTo>
                  <a:cubicBezTo>
                    <a:pt x="320304" y="251566"/>
                    <a:pt x="318144" y="252411"/>
                    <a:pt x="315515" y="252411"/>
                  </a:cubicBezTo>
                  <a:lnTo>
                    <a:pt x="117191" y="252411"/>
                  </a:lnTo>
                  <a:cubicBezTo>
                    <a:pt x="114562" y="252411"/>
                    <a:pt x="112402" y="251566"/>
                    <a:pt x="110712" y="249876"/>
                  </a:cubicBezTo>
                  <a:cubicBezTo>
                    <a:pt x="109021" y="248186"/>
                    <a:pt x="108176" y="246026"/>
                    <a:pt x="108176" y="243397"/>
                  </a:cubicBezTo>
                  <a:lnTo>
                    <a:pt x="108176" y="225367"/>
                  </a:lnTo>
                  <a:cubicBezTo>
                    <a:pt x="108176" y="222738"/>
                    <a:pt x="109021" y="220578"/>
                    <a:pt x="110712" y="218888"/>
                  </a:cubicBezTo>
                  <a:cubicBezTo>
                    <a:pt x="112402" y="217198"/>
                    <a:pt x="114562" y="216353"/>
                    <a:pt x="117191" y="216353"/>
                  </a:cubicBezTo>
                  <a:close/>
                  <a:moveTo>
                    <a:pt x="288471" y="38312"/>
                  </a:moveTo>
                  <a:lnTo>
                    <a:pt x="288471" y="144236"/>
                  </a:lnTo>
                  <a:lnTo>
                    <a:pt x="394394" y="144236"/>
                  </a:lnTo>
                  <a:cubicBezTo>
                    <a:pt x="392516" y="138789"/>
                    <a:pt x="390450" y="134939"/>
                    <a:pt x="388196" y="132685"/>
                  </a:cubicBezTo>
                  <a:lnTo>
                    <a:pt x="300021" y="44510"/>
                  </a:lnTo>
                  <a:cubicBezTo>
                    <a:pt x="297767" y="42256"/>
                    <a:pt x="293917" y="40191"/>
                    <a:pt x="288471" y="38312"/>
                  </a:cubicBezTo>
                  <a:close/>
                  <a:moveTo>
                    <a:pt x="36059" y="36059"/>
                  </a:moveTo>
                  <a:lnTo>
                    <a:pt x="36059" y="468766"/>
                  </a:lnTo>
                  <a:lnTo>
                    <a:pt x="396648" y="468766"/>
                  </a:lnTo>
                  <a:lnTo>
                    <a:pt x="396648" y="180295"/>
                  </a:lnTo>
                  <a:lnTo>
                    <a:pt x="279456" y="180295"/>
                  </a:lnTo>
                  <a:cubicBezTo>
                    <a:pt x="271944" y="180295"/>
                    <a:pt x="265558" y="177665"/>
                    <a:pt x="260300" y="172407"/>
                  </a:cubicBezTo>
                  <a:cubicBezTo>
                    <a:pt x="255041" y="167148"/>
                    <a:pt x="252412" y="160763"/>
                    <a:pt x="252412" y="153251"/>
                  </a:cubicBezTo>
                  <a:lnTo>
                    <a:pt x="252412" y="36059"/>
                  </a:lnTo>
                  <a:close/>
                  <a:moveTo>
                    <a:pt x="27044" y="0"/>
                  </a:moveTo>
                  <a:lnTo>
                    <a:pt x="279456" y="0"/>
                  </a:lnTo>
                  <a:cubicBezTo>
                    <a:pt x="286968" y="0"/>
                    <a:pt x="295232" y="1878"/>
                    <a:pt x="304246" y="5634"/>
                  </a:cubicBezTo>
                  <a:cubicBezTo>
                    <a:pt x="313261" y="9390"/>
                    <a:pt x="320398" y="13898"/>
                    <a:pt x="325656" y="19156"/>
                  </a:cubicBezTo>
                  <a:lnTo>
                    <a:pt x="413550" y="107050"/>
                  </a:lnTo>
                  <a:cubicBezTo>
                    <a:pt x="418809" y="112309"/>
                    <a:pt x="423316" y="119445"/>
                    <a:pt x="427073" y="128460"/>
                  </a:cubicBezTo>
                  <a:cubicBezTo>
                    <a:pt x="430828" y="137475"/>
                    <a:pt x="432706" y="145738"/>
                    <a:pt x="432706" y="153251"/>
                  </a:cubicBezTo>
                  <a:lnTo>
                    <a:pt x="432706" y="477781"/>
                  </a:lnTo>
                  <a:cubicBezTo>
                    <a:pt x="432706" y="485293"/>
                    <a:pt x="430077" y="491679"/>
                    <a:pt x="424818" y="496937"/>
                  </a:cubicBezTo>
                  <a:cubicBezTo>
                    <a:pt x="419560" y="502196"/>
                    <a:pt x="413175" y="504825"/>
                    <a:pt x="405662" y="504825"/>
                  </a:cubicBezTo>
                  <a:lnTo>
                    <a:pt x="27044" y="504825"/>
                  </a:lnTo>
                  <a:cubicBezTo>
                    <a:pt x="19531" y="504825"/>
                    <a:pt x="13146" y="502196"/>
                    <a:pt x="7888" y="496937"/>
                  </a:cubicBezTo>
                  <a:cubicBezTo>
                    <a:pt x="2629" y="491679"/>
                    <a:pt x="0" y="485293"/>
                    <a:pt x="0" y="477781"/>
                  </a:cubicBezTo>
                  <a:lnTo>
                    <a:pt x="0" y="27044"/>
                  </a:lnTo>
                  <a:cubicBezTo>
                    <a:pt x="0" y="19532"/>
                    <a:pt x="2629" y="13147"/>
                    <a:pt x="7888" y="7888"/>
                  </a:cubicBezTo>
                  <a:cubicBezTo>
                    <a:pt x="13146" y="2629"/>
                    <a:pt x="19531" y="0"/>
                    <a:pt x="27044" y="0"/>
                  </a:cubicBezTo>
                  <a:close/>
                </a:path>
              </a:pathLst>
            </a:custGeom>
            <a:solidFill>
              <a:srgbClr val="0E457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defTabSz="8291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en-US" sz="1224" kern="0">
                <a:solidFill>
                  <a:prstClr val="white"/>
                </a:solidFill>
                <a:latin typeface="Calibri" panose="020F0502020204030204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072923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sz="4000" dirty="0" smtClean="0"/>
              <a:t>作業：</a:t>
            </a:r>
            <a:r>
              <a:rPr lang="en-US" altLang="zh-TW" sz="4000" dirty="0"/>
              <a:t>Lab2 MATLAB </a:t>
            </a:r>
            <a:r>
              <a:rPr lang="zh-TW" altLang="en-US" sz="4000" dirty="0"/>
              <a:t>基本繪圖與訊號</a:t>
            </a:r>
            <a:r>
              <a:rPr lang="zh-TW" altLang="en-US" sz="4000" dirty="0" smtClean="0"/>
              <a:t>產生 </a:t>
            </a:r>
            <a:r>
              <a:rPr lang="en-US" altLang="zh-TW" sz="4000" dirty="0" smtClean="0">
                <a:cs typeface="Times New Roman" pitchFamily="18" charset="0"/>
              </a:rPr>
              <a:t>(1/3)</a:t>
            </a:r>
            <a:endParaRPr lang="zh-TW" altLang="en-US" sz="4000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8D0BA13-1C5E-40B6-BB8D-C972D465206B}" type="slidenum">
              <a:rPr lang="zh-TW" altLang="en-US" smtClean="0"/>
              <a:pPr/>
              <a:t>30</a:t>
            </a:fld>
            <a:endParaRPr lang="zh-TW" altLang="en-US"/>
          </a:p>
        </p:txBody>
      </p:sp>
      <p:sp>
        <p:nvSpPr>
          <p:cNvPr id="28" name="object 5"/>
          <p:cNvSpPr/>
          <p:nvPr/>
        </p:nvSpPr>
        <p:spPr>
          <a:xfrm>
            <a:off x="696746" y="1808733"/>
            <a:ext cx="10991317" cy="646515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44012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907476 h 907476"/>
              <a:gd name="connsiteX1" fmla="*/ 0 w 3605250"/>
              <a:gd name="connsiteY1" fmla="*/ 895350 h 907476"/>
              <a:gd name="connsiteX2" fmla="*/ 0 w 3605250"/>
              <a:gd name="connsiteY2" fmla="*/ 0 h 907476"/>
              <a:gd name="connsiteX3" fmla="*/ 3605250 w 3605250"/>
              <a:gd name="connsiteY3" fmla="*/ 0 h 907476"/>
              <a:gd name="connsiteX4" fmla="*/ 3605250 w 3605250"/>
              <a:gd name="connsiteY4" fmla="*/ 890651 h 907476"/>
              <a:gd name="connsiteX5" fmla="*/ 474652 w 3605250"/>
              <a:gd name="connsiteY5" fmla="*/ 878524 h 907476"/>
              <a:gd name="connsiteX0" fmla="*/ 162471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27185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16599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5250" h="908767">
                <a:moveTo>
                  <a:pt x="116599" y="895350"/>
                </a:moveTo>
                <a:lnTo>
                  <a:pt x="0" y="895350"/>
                </a:lnTo>
                <a:lnTo>
                  <a:pt x="0" y="0"/>
                </a:lnTo>
                <a:lnTo>
                  <a:pt x="3605250" y="0"/>
                </a:lnTo>
                <a:lnTo>
                  <a:pt x="3605250" y="890651"/>
                </a:lnTo>
                <a:lnTo>
                  <a:pt x="365265" y="908767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" name="object 6"/>
          <p:cNvSpPr/>
          <p:nvPr/>
        </p:nvSpPr>
        <p:spPr>
          <a:xfrm>
            <a:off x="1686814" y="23662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" name="object 7"/>
          <p:cNvSpPr txBox="1"/>
          <p:nvPr/>
        </p:nvSpPr>
        <p:spPr>
          <a:xfrm>
            <a:off x="1063208" y="2061618"/>
            <a:ext cx="488950" cy="939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7200" spc="-40" dirty="0">
                <a:solidFill>
                  <a:srgbClr val="7E7E7E"/>
                </a:solidFill>
                <a:latin typeface="Calibri"/>
                <a:cs typeface="Calibri"/>
              </a:rPr>
              <a:t>1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1" name="object 8"/>
          <p:cNvSpPr txBox="1"/>
          <p:nvPr/>
        </p:nvSpPr>
        <p:spPr>
          <a:xfrm>
            <a:off x="1968879" y="1916832"/>
            <a:ext cx="7286523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產生 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5000 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個正規分佈亂數 ，畫出分為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25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類的直方</a:t>
            </a:r>
            <a:r>
              <a:rPr lang="zh-TW" altLang="en-US" spc="-10" dirty="0" smtClean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圖</a:t>
            </a:r>
            <a:endParaRPr lang="pt-BR" sz="2400" b="1" spc="-1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微軟正黑體" panose="020B0604030504040204" pitchFamily="34" charset="-120"/>
              <a:cs typeface="Calibri"/>
            </a:endParaRPr>
          </a:p>
        </p:txBody>
      </p:sp>
      <p:sp>
        <p:nvSpPr>
          <p:cNvPr id="32" name="object 21"/>
          <p:cNvSpPr txBox="1"/>
          <p:nvPr/>
        </p:nvSpPr>
        <p:spPr>
          <a:xfrm>
            <a:off x="2063552" y="2553802"/>
            <a:ext cx="6624736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觀察並回答當亂數個數改變時，圖形有何變化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? </a:t>
            </a:r>
            <a:r>
              <a:rPr lang="en-US" altLang="zh-TW" sz="2000" dirty="0" smtClean="0">
                <a:latin typeface="Arial" panose="020B0604020202020204" pitchFamily="34" charset="0"/>
                <a:ea typeface="微軟正黑體" panose="020B0604030504040204" pitchFamily="34" charset="-120"/>
              </a:rPr>
              <a:t>   </a:t>
            </a:r>
            <a:r>
              <a:rPr lang="en-US" altLang="zh-TW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10</a:t>
            </a:r>
            <a:r>
              <a:rPr lang="zh-TW" altLang="en-US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分</a:t>
            </a:r>
            <a:r>
              <a:rPr lang="en-US" altLang="zh-TW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)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觀察並回答當分類個數改變時，圖形有何變化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? </a:t>
            </a:r>
            <a:r>
              <a:rPr lang="en-US" altLang="zh-TW" sz="2000" dirty="0" smtClean="0">
                <a:latin typeface="Arial" panose="020B0604020202020204" pitchFamily="34" charset="0"/>
                <a:ea typeface="微軟正黑體" panose="020B0604030504040204" pitchFamily="34" charset="-120"/>
              </a:rPr>
              <a:t>   </a:t>
            </a:r>
            <a:r>
              <a:rPr lang="en-US" altLang="zh-TW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10</a:t>
            </a:r>
            <a:r>
              <a:rPr lang="zh-TW" altLang="en-US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分</a:t>
            </a:r>
            <a:r>
              <a:rPr lang="en-US" altLang="zh-TW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)</a:t>
            </a:r>
          </a:p>
        </p:txBody>
      </p:sp>
      <p:sp>
        <p:nvSpPr>
          <p:cNvPr id="20" name="object 5"/>
          <p:cNvSpPr/>
          <p:nvPr/>
        </p:nvSpPr>
        <p:spPr>
          <a:xfrm>
            <a:off x="696745" y="3823149"/>
            <a:ext cx="10991317" cy="1066734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3605250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5815116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738805 w 5815116"/>
              <a:gd name="connsiteY5" fmla="*/ 905444 h 905444"/>
              <a:gd name="connsiteX0" fmla="*/ 199390 w 5815116"/>
              <a:gd name="connsiteY0" fmla="*/ 895350 h 914668"/>
              <a:gd name="connsiteX1" fmla="*/ 0 w 5815116"/>
              <a:gd name="connsiteY1" fmla="*/ 895350 h 914668"/>
              <a:gd name="connsiteX2" fmla="*/ 0 w 5815116"/>
              <a:gd name="connsiteY2" fmla="*/ 0 h 914668"/>
              <a:gd name="connsiteX3" fmla="*/ 5815116 w 5815116"/>
              <a:gd name="connsiteY3" fmla="*/ 0 h 914668"/>
              <a:gd name="connsiteX4" fmla="*/ 5815116 w 5815116"/>
              <a:gd name="connsiteY4" fmla="*/ 890651 h 914668"/>
              <a:gd name="connsiteX5" fmla="*/ 607901 w 5815116"/>
              <a:gd name="connsiteY5" fmla="*/ 914668 h 914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15116" h="914668">
                <a:moveTo>
                  <a:pt x="199390" y="895350"/>
                </a:moveTo>
                <a:lnTo>
                  <a:pt x="0" y="895350"/>
                </a:lnTo>
                <a:lnTo>
                  <a:pt x="0" y="0"/>
                </a:lnTo>
                <a:lnTo>
                  <a:pt x="5815116" y="0"/>
                </a:lnTo>
                <a:lnTo>
                  <a:pt x="5815116" y="890651"/>
                </a:lnTo>
                <a:lnTo>
                  <a:pt x="607901" y="914668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object 6"/>
          <p:cNvSpPr/>
          <p:nvPr/>
        </p:nvSpPr>
        <p:spPr>
          <a:xfrm>
            <a:off x="1686814" y="4788491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" name="object 7"/>
          <p:cNvSpPr txBox="1"/>
          <p:nvPr/>
        </p:nvSpPr>
        <p:spPr>
          <a:xfrm>
            <a:off x="1059281" y="4479437"/>
            <a:ext cx="4889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7200" spc="-40" dirty="0" smtClean="0">
                <a:solidFill>
                  <a:srgbClr val="7E7E7E"/>
                </a:solidFill>
                <a:latin typeface="Calibri"/>
                <a:cs typeface="Calibri"/>
              </a:rPr>
              <a:t>2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3" name="object 8"/>
          <p:cNvSpPr txBox="1"/>
          <p:nvPr/>
        </p:nvSpPr>
        <p:spPr>
          <a:xfrm>
            <a:off x="1968880" y="3961799"/>
            <a:ext cx="700744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分別畫出正絃波的下列圖形，並在每個圖形中都加入 </a:t>
            </a:r>
            <a:r>
              <a:rPr lang="pt-BR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title, xlabel, ylabel, legend</a:t>
            </a:r>
          </a:p>
        </p:txBody>
      </p:sp>
      <p:sp>
        <p:nvSpPr>
          <p:cNvPr id="24" name="object 21"/>
          <p:cNvSpPr txBox="1"/>
          <p:nvPr/>
        </p:nvSpPr>
        <p:spPr>
          <a:xfrm>
            <a:off x="2063552" y="5088086"/>
            <a:ext cx="6408712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連續圖形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黑色虛線</a:t>
            </a:r>
            <a:r>
              <a:rPr lang="en-US" altLang="zh-TW" sz="2000" dirty="0" smtClean="0">
                <a:latin typeface="Arial" panose="020B0604020202020204" pitchFamily="34" charset="0"/>
                <a:ea typeface="微軟正黑體" panose="020B0604030504040204" pitchFamily="34" charset="-120"/>
              </a:rPr>
              <a:t>)   </a:t>
            </a:r>
            <a:r>
              <a:rPr lang="en-US" altLang="zh-TW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7</a:t>
            </a:r>
            <a:r>
              <a:rPr lang="zh-TW" altLang="en-US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分</a:t>
            </a:r>
            <a:r>
              <a:rPr lang="en-US" altLang="zh-TW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)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階梯圖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紅色直線</a:t>
            </a:r>
            <a:r>
              <a:rPr lang="en-US" altLang="zh-TW" sz="2000" dirty="0" smtClean="0">
                <a:latin typeface="Arial" panose="020B0604020202020204" pitchFamily="34" charset="0"/>
                <a:ea typeface="微軟正黑體" panose="020B0604030504040204" pitchFamily="34" charset="-120"/>
              </a:rPr>
              <a:t>)      </a:t>
            </a:r>
            <a:r>
              <a:rPr lang="en-US" altLang="zh-TW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7</a:t>
            </a:r>
            <a:r>
              <a:rPr lang="zh-TW" altLang="en-US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分</a:t>
            </a:r>
            <a:r>
              <a:rPr lang="en-US" altLang="zh-TW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)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針狀</a:t>
            </a:r>
            <a:r>
              <a:rPr lang="zh-TW" altLang="en-US" sz="2000" dirty="0" smtClean="0">
                <a:latin typeface="Arial" panose="020B0604020202020204" pitchFamily="34" charset="0"/>
                <a:ea typeface="微軟正黑體" panose="020B0604030504040204" pitchFamily="34" charset="-120"/>
              </a:rPr>
              <a:t>圖 </a:t>
            </a:r>
            <a:r>
              <a:rPr lang="en-US" altLang="zh-TW" sz="2000" dirty="0" smtClean="0">
                <a:latin typeface="Arial" panose="020B0604020202020204" pitchFamily="34" charset="0"/>
                <a:ea typeface="微軟正黑體" panose="020B0604030504040204" pitchFamily="34" charset="-120"/>
              </a:rPr>
              <a:t>(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綠色圓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) </a:t>
            </a:r>
            <a:r>
              <a:rPr lang="en-US" altLang="zh-TW" sz="2000" dirty="0" smtClean="0">
                <a:latin typeface="Arial" panose="020B0604020202020204" pitchFamily="34" charset="0"/>
                <a:ea typeface="微軟正黑體" panose="020B0604030504040204" pitchFamily="34" charset="-120"/>
              </a:rPr>
              <a:t>         </a:t>
            </a:r>
            <a:r>
              <a:rPr lang="en-US" altLang="zh-TW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7</a:t>
            </a:r>
            <a:r>
              <a:rPr lang="zh-TW" altLang="en-US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分</a:t>
            </a:r>
            <a:r>
              <a:rPr lang="en-US" altLang="zh-TW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439992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sz="4000" dirty="0" smtClean="0"/>
              <a:t>作業：</a:t>
            </a:r>
            <a:r>
              <a:rPr lang="en-US" altLang="zh-TW" sz="4000" dirty="0"/>
              <a:t>Lab2 MATLAB </a:t>
            </a:r>
            <a:r>
              <a:rPr lang="zh-TW" altLang="en-US" sz="4000" dirty="0"/>
              <a:t>基本繪圖與訊號</a:t>
            </a:r>
            <a:r>
              <a:rPr lang="zh-TW" altLang="en-US" sz="4000" dirty="0" smtClean="0"/>
              <a:t>產生 </a:t>
            </a:r>
            <a:r>
              <a:rPr lang="en-US" altLang="zh-TW" sz="4000" dirty="0" smtClean="0">
                <a:cs typeface="Times New Roman" pitchFamily="18" charset="0"/>
              </a:rPr>
              <a:t>(2/3)</a:t>
            </a:r>
            <a:endParaRPr lang="zh-TW" altLang="en-US" sz="4000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8D0BA13-1C5E-40B6-BB8D-C972D465206B}" type="slidenum">
              <a:rPr lang="zh-TW" altLang="en-US" smtClean="0"/>
              <a:pPr/>
              <a:t>31</a:t>
            </a:fld>
            <a:endParaRPr lang="zh-TW" altLang="en-US"/>
          </a:p>
        </p:txBody>
      </p:sp>
      <p:sp>
        <p:nvSpPr>
          <p:cNvPr id="21" name="object 6"/>
          <p:cNvSpPr/>
          <p:nvPr/>
        </p:nvSpPr>
        <p:spPr>
          <a:xfrm>
            <a:off x="1686814" y="522234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" name="object 7"/>
          <p:cNvSpPr txBox="1"/>
          <p:nvPr/>
        </p:nvSpPr>
        <p:spPr>
          <a:xfrm>
            <a:off x="1059281" y="4913292"/>
            <a:ext cx="4889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7200" spc="-40" dirty="0" smtClean="0">
                <a:solidFill>
                  <a:srgbClr val="7E7E7E"/>
                </a:solidFill>
                <a:latin typeface="Calibri"/>
                <a:cs typeface="Calibri"/>
              </a:rPr>
              <a:t>4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3" name="object 8"/>
          <p:cNvSpPr txBox="1"/>
          <p:nvPr/>
        </p:nvSpPr>
        <p:spPr>
          <a:xfrm>
            <a:off x="1968880" y="4395654"/>
            <a:ext cx="700744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參考講義，在同一張圖畫出鋸齒波與方波，其中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2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秒內產生頻率為 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40Hz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，取樣速率</a:t>
            </a:r>
            <a:r>
              <a:rPr lang="zh-TW" altLang="en-US" spc="-10" dirty="0" smtClean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為</a:t>
            </a:r>
            <a:r>
              <a:rPr lang="en-US" altLang="zh-TW" spc="-10" dirty="0" smtClean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10kHz   </a:t>
            </a:r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20</a:t>
            </a:r>
            <a:r>
              <a:rPr lang="zh-TW" altLang="en-US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分</a:t>
            </a:r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)</a:t>
            </a:r>
          </a:p>
        </p:txBody>
      </p:sp>
      <p:sp>
        <p:nvSpPr>
          <p:cNvPr id="15" name="object 6"/>
          <p:cNvSpPr/>
          <p:nvPr/>
        </p:nvSpPr>
        <p:spPr>
          <a:xfrm>
            <a:off x="1685468" y="2772267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object 7"/>
          <p:cNvSpPr txBox="1"/>
          <p:nvPr/>
        </p:nvSpPr>
        <p:spPr>
          <a:xfrm>
            <a:off x="1057935" y="2463213"/>
            <a:ext cx="4889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7200" spc="-40" dirty="0" smtClean="0">
                <a:solidFill>
                  <a:srgbClr val="7E7E7E"/>
                </a:solidFill>
                <a:latin typeface="Calibri"/>
                <a:cs typeface="Calibri"/>
              </a:rPr>
              <a:t>3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7" name="object 8"/>
          <p:cNvSpPr txBox="1"/>
          <p:nvPr/>
        </p:nvSpPr>
        <p:spPr>
          <a:xfrm>
            <a:off x="1967534" y="1945575"/>
            <a:ext cx="700744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參考講義，取樣頻率為 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1000 Hz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，產生兩個正弦波組成的訊號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a=1, b=2)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並將白雜訊</a:t>
            </a:r>
            <a:r>
              <a:rPr lang="zh-TW" altLang="en-US" spc="-10" dirty="0" smtClean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加入   </a:t>
            </a:r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20</a:t>
            </a:r>
            <a:r>
              <a:rPr lang="zh-TW" altLang="en-US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分</a:t>
            </a:r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)</a:t>
            </a:r>
            <a:endParaRPr lang="pt-BR" b="1" spc="-1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微軟正黑體" panose="020B0604030504040204" pitchFamily="34" charset="-120"/>
              <a:cs typeface="Calibri"/>
            </a:endParaRPr>
          </a:p>
        </p:txBody>
      </p:sp>
      <p:sp>
        <p:nvSpPr>
          <p:cNvPr id="18" name="object 21"/>
          <p:cNvSpPr txBox="1"/>
          <p:nvPr/>
        </p:nvSpPr>
        <p:spPr>
          <a:xfrm>
            <a:off x="2062206" y="3071862"/>
            <a:ext cx="6912768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利用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subplot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顯示出四種白雜訊係數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0, 0.5, 1, </a:t>
            </a:r>
            <a:r>
              <a:rPr lang="en-US" altLang="zh-TW" sz="2000" dirty="0" smtClean="0">
                <a:latin typeface="Arial" panose="020B0604020202020204" pitchFamily="34" charset="0"/>
                <a:ea typeface="微軟正黑體" panose="020B0604030504040204" pitchFamily="34" charset="-120"/>
              </a:rPr>
              <a:t>2</a:t>
            </a:r>
            <a:r>
              <a:rPr lang="zh-TW" altLang="en-US" sz="2000" dirty="0" smtClean="0">
                <a:latin typeface="Arial" panose="020B0604020202020204" pitchFamily="34" charset="0"/>
                <a:ea typeface="微軟正黑體" panose="020B0604030504040204" pitchFamily="34" charset="-120"/>
              </a:rPr>
              <a:t>，</a:t>
            </a:r>
            <a:endParaRPr lang="en-US" altLang="zh-TW" sz="2000" dirty="0" smtClean="0"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marL="268288" lvl="1">
              <a:spcBef>
                <a:spcPts val="550"/>
              </a:spcBef>
              <a:buClr>
                <a:schemeClr val="accent1"/>
              </a:buClr>
              <a:buSzPct val="70000"/>
            </a:pPr>
            <a:r>
              <a:rPr lang="zh-TW" altLang="en-US" sz="2000" dirty="0" smtClean="0">
                <a:latin typeface="Arial" panose="020B0604020202020204" pitchFamily="34" charset="0"/>
                <a:ea typeface="微軟正黑體" panose="020B0604030504040204" pitchFamily="34" charset="-120"/>
              </a:rPr>
              <a:t>並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畫出前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50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個點的圖形</a:t>
            </a:r>
          </a:p>
        </p:txBody>
      </p:sp>
      <p:sp>
        <p:nvSpPr>
          <p:cNvPr id="19" name="object 5"/>
          <p:cNvSpPr/>
          <p:nvPr/>
        </p:nvSpPr>
        <p:spPr>
          <a:xfrm>
            <a:off x="695400" y="1806925"/>
            <a:ext cx="10992664" cy="1066734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3605250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5815116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738805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81734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19135 w 5815116"/>
              <a:gd name="connsiteY5" fmla="*/ 905444 h 905444"/>
              <a:gd name="connsiteX0" fmla="*/ 199390 w 5815116"/>
              <a:gd name="connsiteY0" fmla="*/ 895350 h 914668"/>
              <a:gd name="connsiteX1" fmla="*/ 0 w 5815116"/>
              <a:gd name="connsiteY1" fmla="*/ 895350 h 914668"/>
              <a:gd name="connsiteX2" fmla="*/ 0 w 5815116"/>
              <a:gd name="connsiteY2" fmla="*/ 0 h 914668"/>
              <a:gd name="connsiteX3" fmla="*/ 5815116 w 5815116"/>
              <a:gd name="connsiteY3" fmla="*/ 0 h 914668"/>
              <a:gd name="connsiteX4" fmla="*/ 5815116 w 5815116"/>
              <a:gd name="connsiteY4" fmla="*/ 890651 h 914668"/>
              <a:gd name="connsiteX5" fmla="*/ 573608 w 5815116"/>
              <a:gd name="connsiteY5" fmla="*/ 914668 h 914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15116" h="914668">
                <a:moveTo>
                  <a:pt x="199390" y="895350"/>
                </a:moveTo>
                <a:lnTo>
                  <a:pt x="0" y="895350"/>
                </a:lnTo>
                <a:lnTo>
                  <a:pt x="0" y="0"/>
                </a:lnTo>
                <a:lnTo>
                  <a:pt x="5815116" y="0"/>
                </a:lnTo>
                <a:lnTo>
                  <a:pt x="5815116" y="890651"/>
                </a:lnTo>
                <a:lnTo>
                  <a:pt x="573608" y="914668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" name="object 5"/>
          <p:cNvSpPr/>
          <p:nvPr/>
        </p:nvSpPr>
        <p:spPr>
          <a:xfrm>
            <a:off x="696746" y="4245232"/>
            <a:ext cx="10991318" cy="1055976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3605250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5815116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738805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75384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595703 w 5815116"/>
              <a:gd name="connsiteY5" fmla="*/ 905444 h 905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15116" h="905444">
                <a:moveTo>
                  <a:pt x="199390" y="895350"/>
                </a:moveTo>
                <a:lnTo>
                  <a:pt x="0" y="895350"/>
                </a:lnTo>
                <a:lnTo>
                  <a:pt x="0" y="0"/>
                </a:lnTo>
                <a:lnTo>
                  <a:pt x="5815116" y="0"/>
                </a:lnTo>
                <a:lnTo>
                  <a:pt x="5815116" y="890651"/>
                </a:lnTo>
                <a:lnTo>
                  <a:pt x="595703" y="905444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53411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sz="4000" dirty="0"/>
              <a:t>作業：</a:t>
            </a:r>
            <a:r>
              <a:rPr lang="en-US" altLang="zh-TW" sz="4000" dirty="0"/>
              <a:t>Lab2 MATLAB </a:t>
            </a:r>
            <a:r>
              <a:rPr lang="zh-TW" altLang="en-US" sz="4000" dirty="0"/>
              <a:t>基本繪圖與訊號產生 </a:t>
            </a:r>
            <a:r>
              <a:rPr lang="en-US" altLang="zh-TW" sz="4000" dirty="0" smtClean="0"/>
              <a:t>(3/3</a:t>
            </a:r>
            <a:r>
              <a:rPr lang="en-US" altLang="zh-TW" sz="4000" dirty="0"/>
              <a:t>)</a:t>
            </a:r>
            <a:endParaRPr lang="zh-TW" altLang="en-US" sz="4000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8D0BA13-1C5E-40B6-BB8D-C972D465206B}" type="slidenum">
              <a:rPr lang="zh-TW" altLang="en-US" smtClean="0"/>
              <a:pPr/>
              <a:t>32</a:t>
            </a:fld>
            <a:endParaRPr lang="zh-TW" altLang="en-US"/>
          </a:p>
        </p:txBody>
      </p:sp>
      <p:sp>
        <p:nvSpPr>
          <p:cNvPr id="31" name="object 8"/>
          <p:cNvSpPr txBox="1"/>
          <p:nvPr/>
        </p:nvSpPr>
        <p:spPr>
          <a:xfrm>
            <a:off x="1968880" y="1916832"/>
            <a:ext cx="9455712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just"/>
            <a:r>
              <a:rPr 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Generate “p_data1.txt” file, where the numerical values from data1.txt times 2. Next, follow the same procedure to generate “p_data2.txt”,  where the header are preserved</a:t>
            </a:r>
            <a:r>
              <a:rPr lang="en-US" spc="-10" dirty="0" smtClean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.   </a:t>
            </a:r>
            <a:r>
              <a:rPr lang="en-US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20分)</a:t>
            </a:r>
          </a:p>
        </p:txBody>
      </p:sp>
      <p:sp>
        <p:nvSpPr>
          <p:cNvPr id="15" name="Text Placeholder 3"/>
          <p:cNvSpPr txBox="1">
            <a:spLocks/>
          </p:cNvSpPr>
          <p:nvPr/>
        </p:nvSpPr>
        <p:spPr>
          <a:xfrm>
            <a:off x="2423592" y="4048230"/>
            <a:ext cx="5738853" cy="819834"/>
          </a:xfrm>
          <a:prstGeom prst="roundRect">
            <a:avLst>
              <a:gd name="adj" fmla="val 13519"/>
            </a:avLst>
          </a:prstGeom>
          <a:solidFill>
            <a:srgbClr val="E1F0FB"/>
          </a:solidFill>
          <a:ln>
            <a:noFill/>
          </a:ln>
        </p:spPr>
        <p:txBody>
          <a:bodyPr wrap="none" lIns="180000" tIns="72000" rIns="180000" bIns="7200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342900" lvl="0" indent="-342900" algn="l">
              <a:buClr>
                <a:srgbClr val="DD8047"/>
              </a:buClr>
              <a:buSzPct val="60000"/>
              <a:buFont typeface="Wingdings" panose="05000000000000000000" pitchFamily="2" charset="2"/>
              <a:buChar char="l"/>
              <a:defRPr/>
            </a:pPr>
            <a:r>
              <a:rPr lang="zh-TW" altLang="en-US" sz="2000" b="1" dirty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可參考投影片</a:t>
            </a:r>
            <a:r>
              <a:rPr lang="en-US" altLang="zh-TW" sz="2000" b="1" dirty="0" smtClean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27-29</a:t>
            </a:r>
            <a:r>
              <a:rPr lang="zh-TW" altLang="en-US" sz="2000" b="1" dirty="0" smtClean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語法</a:t>
            </a:r>
            <a:endParaRPr lang="zh-TW" altLang="en-US" sz="2000" b="1" dirty="0">
              <a:solidFill>
                <a:srgbClr val="CE4C4B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marL="342900" lvl="0" indent="-342900" algn="l">
              <a:buClr>
                <a:srgbClr val="DD8047"/>
              </a:buClr>
              <a:buSzPct val="60000"/>
              <a:buFont typeface="Wingdings" panose="05000000000000000000" pitchFamily="2" charset="2"/>
              <a:buChar char="l"/>
              <a:defRPr/>
            </a:pPr>
            <a:r>
              <a:rPr lang="zh-TW" altLang="en-US" sz="2000" b="1" dirty="0" smtClean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非</a:t>
            </a:r>
            <a:r>
              <a:rPr lang="zh-TW" altLang="en-US" sz="2000" b="1" dirty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數字元素要將其轉為</a:t>
            </a:r>
            <a:r>
              <a:rPr lang="en-US" altLang="zh-TW" sz="2000" b="1" dirty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char</a:t>
            </a:r>
            <a:r>
              <a:rPr lang="zh-TW" altLang="en-US" sz="2000" b="1" dirty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型式</a:t>
            </a:r>
            <a:r>
              <a:rPr lang="en-US" altLang="zh-TW" sz="2000" b="1" dirty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(</a:t>
            </a:r>
            <a:r>
              <a:rPr lang="zh-TW" altLang="en-US" sz="2000" b="1" dirty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請看</a:t>
            </a:r>
            <a:r>
              <a:rPr lang="en-US" altLang="zh-TW" sz="2000" b="1" dirty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LAB1)</a:t>
            </a:r>
          </a:p>
        </p:txBody>
      </p:sp>
      <p:grpSp>
        <p:nvGrpSpPr>
          <p:cNvPr id="16" name="群組 15"/>
          <p:cNvGrpSpPr/>
          <p:nvPr/>
        </p:nvGrpSpPr>
        <p:grpSpPr>
          <a:xfrm>
            <a:off x="7752184" y="3811837"/>
            <a:ext cx="540000" cy="540000"/>
            <a:chOff x="9545273" y="4619252"/>
            <a:chExt cx="540000" cy="540000"/>
          </a:xfrm>
        </p:grpSpPr>
        <p:sp>
          <p:nvSpPr>
            <p:cNvPr id="17" name="橢圓 16"/>
            <p:cNvSpPr/>
            <p:nvPr/>
          </p:nvSpPr>
          <p:spPr>
            <a:xfrm>
              <a:off x="9545273" y="4619252"/>
              <a:ext cx="540000" cy="540000"/>
            </a:xfrm>
            <a:prstGeom prst="ellipse">
              <a:avLst/>
            </a:prstGeom>
            <a:solidFill>
              <a:srgbClr val="0E457D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0" h="0" prst="angle"/>
              <a:contourClr>
                <a:sysClr val="window" lastClr="FFFFFF"/>
              </a:contourClr>
            </a:sp3d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18" name="Freeform 282"/>
            <p:cNvSpPr>
              <a:spLocks noChangeAspect="1"/>
            </p:cNvSpPr>
            <p:nvPr/>
          </p:nvSpPr>
          <p:spPr>
            <a:xfrm>
              <a:off x="9645326" y="4727252"/>
              <a:ext cx="339893" cy="324000"/>
            </a:xfrm>
            <a:custGeom>
              <a:avLst/>
              <a:gdLst/>
              <a:ahLst/>
              <a:cxnLst/>
              <a:rect l="l" t="t" r="r" b="b"/>
              <a:pathLst>
                <a:path w="468765" h="447074">
                  <a:moveTo>
                    <a:pt x="234382" y="0"/>
                  </a:moveTo>
                  <a:cubicBezTo>
                    <a:pt x="240017" y="0"/>
                    <a:pt x="244618" y="3850"/>
                    <a:pt x="248186" y="11550"/>
                  </a:cubicBezTo>
                  <a:lnTo>
                    <a:pt x="311571" y="139728"/>
                  </a:lnTo>
                  <a:lnTo>
                    <a:pt x="452990" y="160293"/>
                  </a:lnTo>
                  <a:cubicBezTo>
                    <a:pt x="463507" y="161983"/>
                    <a:pt x="468765" y="166303"/>
                    <a:pt x="468765" y="173252"/>
                  </a:cubicBezTo>
                  <a:cubicBezTo>
                    <a:pt x="468765" y="177383"/>
                    <a:pt x="466324" y="181891"/>
                    <a:pt x="461441" y="186774"/>
                  </a:cubicBezTo>
                  <a:lnTo>
                    <a:pt x="359180" y="286499"/>
                  </a:lnTo>
                  <a:lnTo>
                    <a:pt x="383407" y="427354"/>
                  </a:lnTo>
                  <a:cubicBezTo>
                    <a:pt x="383595" y="428669"/>
                    <a:pt x="383689" y="430547"/>
                    <a:pt x="383689" y="432989"/>
                  </a:cubicBezTo>
                  <a:cubicBezTo>
                    <a:pt x="383689" y="436933"/>
                    <a:pt x="382703" y="440266"/>
                    <a:pt x="380731" y="442989"/>
                  </a:cubicBezTo>
                  <a:cubicBezTo>
                    <a:pt x="378759" y="445713"/>
                    <a:pt x="375895" y="447074"/>
                    <a:pt x="372139" y="447074"/>
                  </a:cubicBezTo>
                  <a:cubicBezTo>
                    <a:pt x="368571" y="447074"/>
                    <a:pt x="364814" y="445947"/>
                    <a:pt x="360870" y="443694"/>
                  </a:cubicBezTo>
                  <a:lnTo>
                    <a:pt x="234382" y="377210"/>
                  </a:lnTo>
                  <a:lnTo>
                    <a:pt x="107894" y="443694"/>
                  </a:lnTo>
                  <a:cubicBezTo>
                    <a:pt x="103763" y="445947"/>
                    <a:pt x="100006" y="447074"/>
                    <a:pt x="96626" y="447074"/>
                  </a:cubicBezTo>
                  <a:cubicBezTo>
                    <a:pt x="92682" y="447074"/>
                    <a:pt x="89724" y="445713"/>
                    <a:pt x="87752" y="442989"/>
                  </a:cubicBezTo>
                  <a:cubicBezTo>
                    <a:pt x="85780" y="440266"/>
                    <a:pt x="84794" y="436933"/>
                    <a:pt x="84794" y="432989"/>
                  </a:cubicBezTo>
                  <a:cubicBezTo>
                    <a:pt x="84794" y="431862"/>
                    <a:pt x="84982" y="429984"/>
                    <a:pt x="85358" y="427354"/>
                  </a:cubicBezTo>
                  <a:lnTo>
                    <a:pt x="109585" y="286499"/>
                  </a:lnTo>
                  <a:lnTo>
                    <a:pt x="7043" y="186774"/>
                  </a:lnTo>
                  <a:cubicBezTo>
                    <a:pt x="2347" y="181703"/>
                    <a:pt x="0" y="177196"/>
                    <a:pt x="0" y="173252"/>
                  </a:cubicBezTo>
                  <a:cubicBezTo>
                    <a:pt x="0" y="166303"/>
                    <a:pt x="5258" y="161983"/>
                    <a:pt x="15775" y="160293"/>
                  </a:cubicBezTo>
                  <a:lnTo>
                    <a:pt x="157194" y="139728"/>
                  </a:lnTo>
                  <a:lnTo>
                    <a:pt x="220579" y="11550"/>
                  </a:lnTo>
                  <a:cubicBezTo>
                    <a:pt x="224147" y="3850"/>
                    <a:pt x="228748" y="0"/>
                    <a:pt x="23438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3" name="object 5"/>
          <p:cNvSpPr/>
          <p:nvPr/>
        </p:nvSpPr>
        <p:spPr>
          <a:xfrm>
            <a:off x="695400" y="1806924"/>
            <a:ext cx="10992664" cy="1421472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3605250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5815116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738805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81734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19135 w 5815116"/>
              <a:gd name="connsiteY5" fmla="*/ 905444 h 905444"/>
              <a:gd name="connsiteX0" fmla="*/ 199390 w 5815116"/>
              <a:gd name="connsiteY0" fmla="*/ 895350 h 914668"/>
              <a:gd name="connsiteX1" fmla="*/ 0 w 5815116"/>
              <a:gd name="connsiteY1" fmla="*/ 895350 h 914668"/>
              <a:gd name="connsiteX2" fmla="*/ 0 w 5815116"/>
              <a:gd name="connsiteY2" fmla="*/ 0 h 914668"/>
              <a:gd name="connsiteX3" fmla="*/ 5815116 w 5815116"/>
              <a:gd name="connsiteY3" fmla="*/ 0 h 914668"/>
              <a:gd name="connsiteX4" fmla="*/ 5815116 w 5815116"/>
              <a:gd name="connsiteY4" fmla="*/ 890651 h 914668"/>
              <a:gd name="connsiteX5" fmla="*/ 573608 w 5815116"/>
              <a:gd name="connsiteY5" fmla="*/ 914668 h 914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15116" h="914668">
                <a:moveTo>
                  <a:pt x="199390" y="895350"/>
                </a:moveTo>
                <a:lnTo>
                  <a:pt x="0" y="895350"/>
                </a:lnTo>
                <a:lnTo>
                  <a:pt x="0" y="0"/>
                </a:lnTo>
                <a:lnTo>
                  <a:pt x="5815116" y="0"/>
                </a:lnTo>
                <a:lnTo>
                  <a:pt x="5815116" y="890651"/>
                </a:lnTo>
                <a:lnTo>
                  <a:pt x="573608" y="914668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object 6"/>
          <p:cNvSpPr/>
          <p:nvPr/>
        </p:nvSpPr>
        <p:spPr>
          <a:xfrm>
            <a:off x="1685468" y="3134114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object 7"/>
          <p:cNvSpPr txBox="1"/>
          <p:nvPr/>
        </p:nvSpPr>
        <p:spPr>
          <a:xfrm>
            <a:off x="1057935" y="2825060"/>
            <a:ext cx="4889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7200" spc="-40" dirty="0" smtClean="0">
                <a:solidFill>
                  <a:srgbClr val="7E7E7E"/>
                </a:solidFill>
                <a:latin typeface="Calibri"/>
                <a:cs typeface="Calibri"/>
              </a:rPr>
              <a:t>5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91425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zh-TW" sz="4000" dirty="0"/>
              <a:t>Homework</a:t>
            </a:r>
            <a:r>
              <a:rPr lang="zh-TW" altLang="en-US" sz="4000" dirty="0"/>
              <a:t>：</a:t>
            </a:r>
            <a:r>
              <a:rPr lang="en-US" altLang="zh-TW" sz="4000" dirty="0"/>
              <a:t>Lab2 </a:t>
            </a:r>
            <a:r>
              <a:rPr lang="en-US" altLang="zh-TW" sz="4000" dirty="0" smtClean="0"/>
              <a:t>(</a:t>
            </a:r>
            <a:r>
              <a:rPr lang="en-US" altLang="zh-TW" sz="4000" dirty="0"/>
              <a:t>1/3)</a:t>
            </a:r>
            <a:endParaRPr lang="zh-TW" altLang="en-US" sz="4000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8D0BA13-1C5E-40B6-BB8D-C972D465206B}" type="slidenum">
              <a:rPr lang="zh-TW" altLang="en-US" smtClean="0"/>
              <a:pPr/>
              <a:t>33</a:t>
            </a:fld>
            <a:endParaRPr lang="zh-TW" altLang="en-US"/>
          </a:p>
        </p:txBody>
      </p:sp>
      <p:sp>
        <p:nvSpPr>
          <p:cNvPr id="21" name="object 6"/>
          <p:cNvSpPr/>
          <p:nvPr/>
        </p:nvSpPr>
        <p:spPr>
          <a:xfrm>
            <a:off x="1686814" y="5114422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" name="object 7"/>
          <p:cNvSpPr txBox="1"/>
          <p:nvPr/>
        </p:nvSpPr>
        <p:spPr>
          <a:xfrm>
            <a:off x="1059281" y="4805368"/>
            <a:ext cx="4889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7200" spc="-40" dirty="0" smtClean="0">
                <a:solidFill>
                  <a:srgbClr val="7E7E7E"/>
                </a:solidFill>
                <a:latin typeface="Calibri"/>
                <a:cs typeface="Calibri"/>
              </a:rPr>
              <a:t>2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3" name="object 8"/>
          <p:cNvSpPr txBox="1"/>
          <p:nvPr/>
        </p:nvSpPr>
        <p:spPr>
          <a:xfrm>
            <a:off x="1968880" y="4287730"/>
            <a:ext cx="945571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Plot the sin(x) of the below figure, add “title, </a:t>
            </a:r>
            <a:r>
              <a:rPr lang="en-US" altLang="zh-TW" spc="-10" dirty="0" err="1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xlabel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, </a:t>
            </a:r>
            <a:r>
              <a:rPr lang="en-US" altLang="zh-TW" spc="-10" dirty="0" err="1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ylabel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, legend” to each </a:t>
            </a:r>
            <a:r>
              <a:rPr lang="en-US" altLang="zh-TW" spc="-10" dirty="0" smtClean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figure  </a:t>
            </a:r>
            <a:r>
              <a:rPr lang="en-US" altLang="zh-TW" b="1" spc="-10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20%)</a:t>
            </a:r>
            <a:endParaRPr lang="en-US" altLang="zh-TW" b="1" spc="-1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微軟正黑體" panose="020B0604030504040204" pitchFamily="34" charset="-120"/>
              <a:cs typeface="Calibri"/>
            </a:endParaRPr>
          </a:p>
        </p:txBody>
      </p:sp>
      <p:sp>
        <p:nvSpPr>
          <p:cNvPr id="15" name="object 6"/>
          <p:cNvSpPr/>
          <p:nvPr/>
        </p:nvSpPr>
        <p:spPr>
          <a:xfrm>
            <a:off x="1685468" y="2772267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object 7"/>
          <p:cNvSpPr txBox="1"/>
          <p:nvPr/>
        </p:nvSpPr>
        <p:spPr>
          <a:xfrm>
            <a:off x="1057935" y="2463213"/>
            <a:ext cx="4889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7200" spc="-40" dirty="0" smtClean="0">
                <a:solidFill>
                  <a:srgbClr val="7E7E7E"/>
                </a:solidFill>
                <a:latin typeface="Calibri"/>
                <a:cs typeface="Calibri"/>
              </a:rPr>
              <a:t>1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7" name="object 8"/>
          <p:cNvSpPr txBox="1"/>
          <p:nvPr/>
        </p:nvSpPr>
        <p:spPr>
          <a:xfrm>
            <a:off x="1967533" y="1945575"/>
            <a:ext cx="9457059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Produce 5000 regular distribution random number, divided into 25 class histogram and draw it out.</a:t>
            </a:r>
            <a:r>
              <a:rPr lang="zh-TW" altLang="en-US" spc="-10" dirty="0" smtClean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   </a:t>
            </a:r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</a:t>
            </a:r>
            <a:r>
              <a:rPr lang="en-US" altLang="zh-TW" b="1" spc="-10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20%)</a:t>
            </a:r>
            <a:endParaRPr lang="pt-BR" b="1" spc="-1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微軟正黑體" panose="020B0604030504040204" pitchFamily="34" charset="-120"/>
              <a:cs typeface="Calibri"/>
            </a:endParaRPr>
          </a:p>
        </p:txBody>
      </p:sp>
      <p:sp>
        <p:nvSpPr>
          <p:cNvPr id="18" name="object 21"/>
          <p:cNvSpPr txBox="1"/>
          <p:nvPr/>
        </p:nvSpPr>
        <p:spPr>
          <a:xfrm>
            <a:off x="2062206" y="3071862"/>
            <a:ext cx="8642306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When the random number change, what would happened to the figure?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When the class number change, what would happened to the figure?</a:t>
            </a:r>
          </a:p>
        </p:txBody>
      </p:sp>
      <p:sp>
        <p:nvSpPr>
          <p:cNvPr id="13" name="object 21"/>
          <p:cNvSpPr txBox="1"/>
          <p:nvPr/>
        </p:nvSpPr>
        <p:spPr>
          <a:xfrm>
            <a:off x="1967533" y="5481316"/>
            <a:ext cx="8642306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Continuous diagrams(black dotted line)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ladder diagrams (red straight line)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stem diagrams (green circle)</a:t>
            </a:r>
          </a:p>
        </p:txBody>
      </p:sp>
      <p:sp>
        <p:nvSpPr>
          <p:cNvPr id="19" name="object 5"/>
          <p:cNvSpPr/>
          <p:nvPr/>
        </p:nvSpPr>
        <p:spPr>
          <a:xfrm>
            <a:off x="695400" y="1806925"/>
            <a:ext cx="10992664" cy="1066734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3605250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5815116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738805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81734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19135 w 5815116"/>
              <a:gd name="connsiteY5" fmla="*/ 905444 h 905444"/>
              <a:gd name="connsiteX0" fmla="*/ 199390 w 5815116"/>
              <a:gd name="connsiteY0" fmla="*/ 895350 h 914668"/>
              <a:gd name="connsiteX1" fmla="*/ 0 w 5815116"/>
              <a:gd name="connsiteY1" fmla="*/ 895350 h 914668"/>
              <a:gd name="connsiteX2" fmla="*/ 0 w 5815116"/>
              <a:gd name="connsiteY2" fmla="*/ 0 h 914668"/>
              <a:gd name="connsiteX3" fmla="*/ 5815116 w 5815116"/>
              <a:gd name="connsiteY3" fmla="*/ 0 h 914668"/>
              <a:gd name="connsiteX4" fmla="*/ 5815116 w 5815116"/>
              <a:gd name="connsiteY4" fmla="*/ 890651 h 914668"/>
              <a:gd name="connsiteX5" fmla="*/ 573608 w 5815116"/>
              <a:gd name="connsiteY5" fmla="*/ 914668 h 914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15116" h="914668">
                <a:moveTo>
                  <a:pt x="199390" y="895350"/>
                </a:moveTo>
                <a:lnTo>
                  <a:pt x="0" y="895350"/>
                </a:lnTo>
                <a:lnTo>
                  <a:pt x="0" y="0"/>
                </a:lnTo>
                <a:lnTo>
                  <a:pt x="5815116" y="0"/>
                </a:lnTo>
                <a:lnTo>
                  <a:pt x="5815116" y="890651"/>
                </a:lnTo>
                <a:lnTo>
                  <a:pt x="573608" y="914668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" name="object 5"/>
          <p:cNvSpPr/>
          <p:nvPr/>
        </p:nvSpPr>
        <p:spPr>
          <a:xfrm>
            <a:off x="696746" y="4149080"/>
            <a:ext cx="10991318" cy="1055976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3605250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5815116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738805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75384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595703 w 5815116"/>
              <a:gd name="connsiteY5" fmla="*/ 905444 h 905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15116" h="905444">
                <a:moveTo>
                  <a:pt x="199390" y="895350"/>
                </a:moveTo>
                <a:lnTo>
                  <a:pt x="0" y="895350"/>
                </a:lnTo>
                <a:lnTo>
                  <a:pt x="0" y="0"/>
                </a:lnTo>
                <a:lnTo>
                  <a:pt x="5815116" y="0"/>
                </a:lnTo>
                <a:lnTo>
                  <a:pt x="5815116" y="890651"/>
                </a:lnTo>
                <a:lnTo>
                  <a:pt x="595703" y="905444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62856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zh-TW" sz="4000" dirty="0"/>
              <a:t>Homework</a:t>
            </a:r>
            <a:r>
              <a:rPr lang="zh-TW" altLang="en-US" sz="4000" dirty="0"/>
              <a:t>：</a:t>
            </a:r>
            <a:r>
              <a:rPr lang="en-US" altLang="zh-TW" sz="4000" dirty="0"/>
              <a:t>Lab2 </a:t>
            </a:r>
            <a:r>
              <a:rPr lang="en-US" altLang="zh-TW" sz="4000" dirty="0" smtClean="0"/>
              <a:t>(2/3</a:t>
            </a:r>
            <a:r>
              <a:rPr lang="en-US" altLang="zh-TW" sz="4000" dirty="0"/>
              <a:t>)</a:t>
            </a:r>
            <a:endParaRPr lang="zh-TW" altLang="en-US" sz="4000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8D0BA13-1C5E-40B6-BB8D-C972D465206B}" type="slidenum">
              <a:rPr lang="zh-TW" altLang="en-US" smtClean="0"/>
              <a:pPr/>
              <a:t>34</a:t>
            </a:fld>
            <a:endParaRPr lang="zh-TW" altLang="en-US"/>
          </a:p>
        </p:txBody>
      </p:sp>
      <p:sp>
        <p:nvSpPr>
          <p:cNvPr id="20" name="object 5"/>
          <p:cNvSpPr/>
          <p:nvPr/>
        </p:nvSpPr>
        <p:spPr>
          <a:xfrm>
            <a:off x="696746" y="4149080"/>
            <a:ext cx="10991318" cy="1055976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3605250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5815116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738805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75384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595703 w 5815116"/>
              <a:gd name="connsiteY5" fmla="*/ 905444 h 905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15116" h="905444">
                <a:moveTo>
                  <a:pt x="199390" y="895350"/>
                </a:moveTo>
                <a:lnTo>
                  <a:pt x="0" y="895350"/>
                </a:lnTo>
                <a:lnTo>
                  <a:pt x="0" y="0"/>
                </a:lnTo>
                <a:lnTo>
                  <a:pt x="5815116" y="0"/>
                </a:lnTo>
                <a:lnTo>
                  <a:pt x="5815116" y="890651"/>
                </a:lnTo>
                <a:lnTo>
                  <a:pt x="595703" y="905444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object 6"/>
          <p:cNvSpPr/>
          <p:nvPr/>
        </p:nvSpPr>
        <p:spPr>
          <a:xfrm>
            <a:off x="1686814" y="5114422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" name="object 7"/>
          <p:cNvSpPr txBox="1"/>
          <p:nvPr/>
        </p:nvSpPr>
        <p:spPr>
          <a:xfrm>
            <a:off x="1059281" y="4805368"/>
            <a:ext cx="4889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7200" spc="-40" dirty="0" smtClean="0">
                <a:solidFill>
                  <a:srgbClr val="7E7E7E"/>
                </a:solidFill>
                <a:latin typeface="Calibri"/>
                <a:cs typeface="Calibri"/>
              </a:rPr>
              <a:t>4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3" name="object 8"/>
          <p:cNvSpPr txBox="1"/>
          <p:nvPr/>
        </p:nvSpPr>
        <p:spPr>
          <a:xfrm>
            <a:off x="1968880" y="4287730"/>
            <a:ext cx="9719184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See page 23. Plot </a:t>
            </a:r>
            <a:r>
              <a:rPr lang="en-US" altLang="zh-TW" spc="-10" dirty="0" err="1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sawtooth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 wave and square </a:t>
            </a:r>
            <a:r>
              <a:rPr lang="en-US" altLang="zh-TW" spc="-10" dirty="0" err="1" smtClean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wave.Produces</a:t>
            </a:r>
            <a:r>
              <a:rPr lang="en-US" altLang="zh-TW" spc="-10" dirty="0" smtClean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 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a frequency of 40Hz in 2 seconds, and the sampling rate is </a:t>
            </a:r>
            <a:r>
              <a:rPr lang="en-US" altLang="zh-TW" spc="-10" dirty="0" smtClean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10kHz  </a:t>
            </a:r>
            <a:r>
              <a:rPr lang="en-US" altLang="zh-TW" b="1" spc="-10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20%)</a:t>
            </a:r>
            <a:endParaRPr lang="en-US" altLang="zh-TW" b="1" spc="-1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微軟正黑體" panose="020B0604030504040204" pitchFamily="34" charset="-120"/>
              <a:cs typeface="Calibri"/>
            </a:endParaRPr>
          </a:p>
        </p:txBody>
      </p:sp>
      <p:sp>
        <p:nvSpPr>
          <p:cNvPr id="14" name="object 5"/>
          <p:cNvSpPr/>
          <p:nvPr/>
        </p:nvSpPr>
        <p:spPr>
          <a:xfrm>
            <a:off x="695400" y="1806925"/>
            <a:ext cx="10992664" cy="1066734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3605250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5815116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738805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81734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19135 w 5815116"/>
              <a:gd name="connsiteY5" fmla="*/ 905444 h 905444"/>
              <a:gd name="connsiteX0" fmla="*/ 199390 w 5815116"/>
              <a:gd name="connsiteY0" fmla="*/ 895350 h 914668"/>
              <a:gd name="connsiteX1" fmla="*/ 0 w 5815116"/>
              <a:gd name="connsiteY1" fmla="*/ 895350 h 914668"/>
              <a:gd name="connsiteX2" fmla="*/ 0 w 5815116"/>
              <a:gd name="connsiteY2" fmla="*/ 0 h 914668"/>
              <a:gd name="connsiteX3" fmla="*/ 5815116 w 5815116"/>
              <a:gd name="connsiteY3" fmla="*/ 0 h 914668"/>
              <a:gd name="connsiteX4" fmla="*/ 5815116 w 5815116"/>
              <a:gd name="connsiteY4" fmla="*/ 890651 h 914668"/>
              <a:gd name="connsiteX5" fmla="*/ 573608 w 5815116"/>
              <a:gd name="connsiteY5" fmla="*/ 914668 h 914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15116" h="914668">
                <a:moveTo>
                  <a:pt x="199390" y="895350"/>
                </a:moveTo>
                <a:lnTo>
                  <a:pt x="0" y="895350"/>
                </a:lnTo>
                <a:lnTo>
                  <a:pt x="0" y="0"/>
                </a:lnTo>
                <a:lnTo>
                  <a:pt x="5815116" y="0"/>
                </a:lnTo>
                <a:lnTo>
                  <a:pt x="5815116" y="890651"/>
                </a:lnTo>
                <a:lnTo>
                  <a:pt x="573608" y="914668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object 6"/>
          <p:cNvSpPr/>
          <p:nvPr/>
        </p:nvSpPr>
        <p:spPr>
          <a:xfrm>
            <a:off x="1685468" y="2772267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object 7"/>
          <p:cNvSpPr txBox="1"/>
          <p:nvPr/>
        </p:nvSpPr>
        <p:spPr>
          <a:xfrm>
            <a:off x="1057935" y="2463213"/>
            <a:ext cx="4889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7200" spc="-40" dirty="0" smtClean="0">
                <a:solidFill>
                  <a:srgbClr val="7E7E7E"/>
                </a:solidFill>
                <a:latin typeface="Calibri"/>
                <a:cs typeface="Calibri"/>
              </a:rPr>
              <a:t>3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7" name="object 8"/>
          <p:cNvSpPr txBox="1"/>
          <p:nvPr/>
        </p:nvSpPr>
        <p:spPr>
          <a:xfrm>
            <a:off x="1967533" y="1945575"/>
            <a:ext cx="9529067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See page 21. The sampling rate is 1000 Hz. Create a signal with two sin(x) (a=1, b=2) and add white </a:t>
            </a:r>
            <a:r>
              <a:rPr lang="en-US" altLang="zh-TW" spc="-10" dirty="0" smtClean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noises.</a:t>
            </a:r>
            <a:r>
              <a:rPr lang="zh-TW" altLang="en-US" spc="-10" dirty="0" smtClean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   </a:t>
            </a:r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</a:t>
            </a:r>
            <a:r>
              <a:rPr lang="en-US" altLang="zh-TW" b="1" spc="-10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20%)</a:t>
            </a:r>
            <a:endParaRPr lang="pt-BR" b="1" spc="-1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微軟正黑體" panose="020B0604030504040204" pitchFamily="34" charset="-120"/>
              <a:cs typeface="Calibri"/>
            </a:endParaRPr>
          </a:p>
        </p:txBody>
      </p:sp>
      <p:sp>
        <p:nvSpPr>
          <p:cNvPr id="18" name="object 21"/>
          <p:cNvSpPr txBox="1"/>
          <p:nvPr/>
        </p:nvSpPr>
        <p:spPr>
          <a:xfrm>
            <a:off x="2062206" y="3071862"/>
            <a:ext cx="8642306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Use command subplot to show four kinds of the white noise with </a:t>
            </a:r>
            <a:endParaRPr lang="en-US" altLang="zh-TW" sz="2000" dirty="0" smtClean="0"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marL="268288" lvl="1">
              <a:spcBef>
                <a:spcPts val="550"/>
              </a:spcBef>
              <a:buClr>
                <a:schemeClr val="accent1"/>
              </a:buClr>
              <a:buSzPct val="70000"/>
            </a:pPr>
            <a:r>
              <a:rPr lang="en-US" altLang="zh-TW" sz="2000" dirty="0" smtClean="0">
                <a:latin typeface="Arial" panose="020B0604020202020204" pitchFamily="34" charset="0"/>
                <a:ea typeface="微軟正黑體" panose="020B0604030504040204" pitchFamily="34" charset="-120"/>
              </a:rPr>
              <a:t>coefficient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0, 0.5, 1, 2 , and draw the first 50 points of the diagrams</a:t>
            </a:r>
          </a:p>
        </p:txBody>
      </p:sp>
      <p:sp>
        <p:nvSpPr>
          <p:cNvPr id="13" name="object 21"/>
          <p:cNvSpPr txBox="1"/>
          <p:nvPr/>
        </p:nvSpPr>
        <p:spPr>
          <a:xfrm>
            <a:off x="1967533" y="5481316"/>
            <a:ext cx="8642306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Continuous diagrams(black dotted line)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ladder diagrams (red straight line)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stem diagrams (green circle)</a:t>
            </a:r>
          </a:p>
        </p:txBody>
      </p:sp>
    </p:spTree>
    <p:extLst>
      <p:ext uri="{BB962C8B-B14F-4D97-AF65-F5344CB8AC3E}">
        <p14:creationId xmlns:p14="http://schemas.microsoft.com/office/powerpoint/2010/main" val="1009141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zh-TW" sz="4000" dirty="0"/>
              <a:t>Homework</a:t>
            </a:r>
            <a:r>
              <a:rPr lang="zh-TW" altLang="en-US" sz="4000" dirty="0"/>
              <a:t>：</a:t>
            </a:r>
            <a:r>
              <a:rPr lang="en-US" altLang="zh-TW" sz="4000" dirty="0"/>
              <a:t>Lab2 </a:t>
            </a:r>
            <a:r>
              <a:rPr lang="en-US" altLang="zh-TW" sz="4000" dirty="0" smtClean="0"/>
              <a:t>(3/3</a:t>
            </a:r>
            <a:r>
              <a:rPr lang="en-US" altLang="zh-TW" sz="4000" dirty="0"/>
              <a:t>)</a:t>
            </a:r>
            <a:endParaRPr lang="zh-TW" altLang="en-US" sz="4000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8D0BA13-1C5E-40B6-BB8D-C972D465206B}" type="slidenum">
              <a:rPr lang="zh-TW" altLang="en-US" smtClean="0"/>
              <a:pPr/>
              <a:t>35</a:t>
            </a:fld>
            <a:endParaRPr lang="zh-TW" altLang="en-US"/>
          </a:p>
        </p:txBody>
      </p:sp>
      <p:sp>
        <p:nvSpPr>
          <p:cNvPr id="15" name="Text Placeholder 3"/>
          <p:cNvSpPr txBox="1">
            <a:spLocks/>
          </p:cNvSpPr>
          <p:nvPr/>
        </p:nvSpPr>
        <p:spPr>
          <a:xfrm>
            <a:off x="2423592" y="4048230"/>
            <a:ext cx="5589950" cy="819834"/>
          </a:xfrm>
          <a:prstGeom prst="roundRect">
            <a:avLst>
              <a:gd name="adj" fmla="val 13519"/>
            </a:avLst>
          </a:prstGeom>
          <a:solidFill>
            <a:srgbClr val="E1F0FB"/>
          </a:solidFill>
          <a:ln>
            <a:noFill/>
          </a:ln>
        </p:spPr>
        <p:txBody>
          <a:bodyPr wrap="none" lIns="180000" tIns="72000" rIns="180000" bIns="7200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342900" lvl="0" indent="-342900" algn="l">
              <a:buClr>
                <a:srgbClr val="DD8047"/>
              </a:buClr>
              <a:buSzPct val="60000"/>
              <a:buFont typeface="Wingdings" panose="05000000000000000000" pitchFamily="2" charset="2"/>
              <a:buChar char="l"/>
              <a:defRPr/>
            </a:pPr>
            <a:r>
              <a:rPr lang="en-US" altLang="zh-TW" sz="2000" b="1" dirty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see page </a:t>
            </a:r>
            <a:r>
              <a:rPr lang="en-US" altLang="zh-TW" sz="2000" b="1" dirty="0" smtClean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27-29</a:t>
            </a:r>
            <a:endParaRPr lang="en-US" altLang="zh-TW" sz="2000" b="1" dirty="0">
              <a:solidFill>
                <a:srgbClr val="CE4C4B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marL="342900" lvl="0" indent="-342900" algn="l">
              <a:buClr>
                <a:srgbClr val="DD8047"/>
              </a:buClr>
              <a:buSzPct val="60000"/>
              <a:buFont typeface="Wingdings" panose="05000000000000000000" pitchFamily="2" charset="2"/>
              <a:buChar char="l"/>
              <a:defRPr/>
            </a:pPr>
            <a:r>
              <a:rPr lang="en-US" altLang="zh-TW" sz="2000" b="1" dirty="0" smtClean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Non-numeric </a:t>
            </a:r>
            <a:r>
              <a:rPr lang="en-US" altLang="zh-TW" sz="2000" b="1" dirty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elements  convert  to </a:t>
            </a:r>
            <a:r>
              <a:rPr lang="en-US" altLang="zh-TW" sz="2000" b="1" dirty="0" smtClean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char</a:t>
            </a:r>
            <a:endParaRPr lang="en-US" altLang="zh-TW" sz="2000" b="1" dirty="0">
              <a:solidFill>
                <a:srgbClr val="CE4C4B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16" name="群組 15"/>
          <p:cNvGrpSpPr/>
          <p:nvPr/>
        </p:nvGrpSpPr>
        <p:grpSpPr>
          <a:xfrm>
            <a:off x="7680176" y="3772399"/>
            <a:ext cx="540000" cy="540000"/>
            <a:chOff x="9545273" y="4619252"/>
            <a:chExt cx="540000" cy="540000"/>
          </a:xfrm>
        </p:grpSpPr>
        <p:sp>
          <p:nvSpPr>
            <p:cNvPr id="17" name="橢圓 16"/>
            <p:cNvSpPr/>
            <p:nvPr/>
          </p:nvSpPr>
          <p:spPr>
            <a:xfrm>
              <a:off x="9545273" y="4619252"/>
              <a:ext cx="540000" cy="540000"/>
            </a:xfrm>
            <a:prstGeom prst="ellipse">
              <a:avLst/>
            </a:prstGeom>
            <a:solidFill>
              <a:srgbClr val="0E457D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0" h="0" prst="angle"/>
              <a:contourClr>
                <a:sysClr val="window" lastClr="FFFFFF"/>
              </a:contourClr>
            </a:sp3d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18" name="Freeform 282"/>
            <p:cNvSpPr>
              <a:spLocks noChangeAspect="1"/>
            </p:cNvSpPr>
            <p:nvPr/>
          </p:nvSpPr>
          <p:spPr>
            <a:xfrm>
              <a:off x="9645326" y="4727252"/>
              <a:ext cx="339893" cy="324000"/>
            </a:xfrm>
            <a:custGeom>
              <a:avLst/>
              <a:gdLst/>
              <a:ahLst/>
              <a:cxnLst/>
              <a:rect l="l" t="t" r="r" b="b"/>
              <a:pathLst>
                <a:path w="468765" h="447074">
                  <a:moveTo>
                    <a:pt x="234382" y="0"/>
                  </a:moveTo>
                  <a:cubicBezTo>
                    <a:pt x="240017" y="0"/>
                    <a:pt x="244618" y="3850"/>
                    <a:pt x="248186" y="11550"/>
                  </a:cubicBezTo>
                  <a:lnTo>
                    <a:pt x="311571" y="139728"/>
                  </a:lnTo>
                  <a:lnTo>
                    <a:pt x="452990" y="160293"/>
                  </a:lnTo>
                  <a:cubicBezTo>
                    <a:pt x="463507" y="161983"/>
                    <a:pt x="468765" y="166303"/>
                    <a:pt x="468765" y="173252"/>
                  </a:cubicBezTo>
                  <a:cubicBezTo>
                    <a:pt x="468765" y="177383"/>
                    <a:pt x="466324" y="181891"/>
                    <a:pt x="461441" y="186774"/>
                  </a:cubicBezTo>
                  <a:lnTo>
                    <a:pt x="359180" y="286499"/>
                  </a:lnTo>
                  <a:lnTo>
                    <a:pt x="383407" y="427354"/>
                  </a:lnTo>
                  <a:cubicBezTo>
                    <a:pt x="383595" y="428669"/>
                    <a:pt x="383689" y="430547"/>
                    <a:pt x="383689" y="432989"/>
                  </a:cubicBezTo>
                  <a:cubicBezTo>
                    <a:pt x="383689" y="436933"/>
                    <a:pt x="382703" y="440266"/>
                    <a:pt x="380731" y="442989"/>
                  </a:cubicBezTo>
                  <a:cubicBezTo>
                    <a:pt x="378759" y="445713"/>
                    <a:pt x="375895" y="447074"/>
                    <a:pt x="372139" y="447074"/>
                  </a:cubicBezTo>
                  <a:cubicBezTo>
                    <a:pt x="368571" y="447074"/>
                    <a:pt x="364814" y="445947"/>
                    <a:pt x="360870" y="443694"/>
                  </a:cubicBezTo>
                  <a:lnTo>
                    <a:pt x="234382" y="377210"/>
                  </a:lnTo>
                  <a:lnTo>
                    <a:pt x="107894" y="443694"/>
                  </a:lnTo>
                  <a:cubicBezTo>
                    <a:pt x="103763" y="445947"/>
                    <a:pt x="100006" y="447074"/>
                    <a:pt x="96626" y="447074"/>
                  </a:cubicBezTo>
                  <a:cubicBezTo>
                    <a:pt x="92682" y="447074"/>
                    <a:pt x="89724" y="445713"/>
                    <a:pt x="87752" y="442989"/>
                  </a:cubicBezTo>
                  <a:cubicBezTo>
                    <a:pt x="85780" y="440266"/>
                    <a:pt x="84794" y="436933"/>
                    <a:pt x="84794" y="432989"/>
                  </a:cubicBezTo>
                  <a:cubicBezTo>
                    <a:pt x="84794" y="431862"/>
                    <a:pt x="84982" y="429984"/>
                    <a:pt x="85358" y="427354"/>
                  </a:cubicBezTo>
                  <a:lnTo>
                    <a:pt x="109585" y="286499"/>
                  </a:lnTo>
                  <a:lnTo>
                    <a:pt x="7043" y="186774"/>
                  </a:lnTo>
                  <a:cubicBezTo>
                    <a:pt x="2347" y="181703"/>
                    <a:pt x="0" y="177196"/>
                    <a:pt x="0" y="173252"/>
                  </a:cubicBezTo>
                  <a:cubicBezTo>
                    <a:pt x="0" y="166303"/>
                    <a:pt x="5258" y="161983"/>
                    <a:pt x="15775" y="160293"/>
                  </a:cubicBezTo>
                  <a:lnTo>
                    <a:pt x="157194" y="139728"/>
                  </a:lnTo>
                  <a:lnTo>
                    <a:pt x="220579" y="11550"/>
                  </a:lnTo>
                  <a:cubicBezTo>
                    <a:pt x="224147" y="3850"/>
                    <a:pt x="228748" y="0"/>
                    <a:pt x="23438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3" name="object 5"/>
          <p:cNvSpPr/>
          <p:nvPr/>
        </p:nvSpPr>
        <p:spPr>
          <a:xfrm>
            <a:off x="695400" y="1806924"/>
            <a:ext cx="10992664" cy="1421472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3605250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5815116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738805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81734 w 5815116"/>
              <a:gd name="connsiteY5" fmla="*/ 905444 h 905444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619135 w 5815116"/>
              <a:gd name="connsiteY5" fmla="*/ 905444 h 905444"/>
              <a:gd name="connsiteX0" fmla="*/ 199390 w 5815116"/>
              <a:gd name="connsiteY0" fmla="*/ 895350 h 914668"/>
              <a:gd name="connsiteX1" fmla="*/ 0 w 5815116"/>
              <a:gd name="connsiteY1" fmla="*/ 895350 h 914668"/>
              <a:gd name="connsiteX2" fmla="*/ 0 w 5815116"/>
              <a:gd name="connsiteY2" fmla="*/ 0 h 914668"/>
              <a:gd name="connsiteX3" fmla="*/ 5815116 w 5815116"/>
              <a:gd name="connsiteY3" fmla="*/ 0 h 914668"/>
              <a:gd name="connsiteX4" fmla="*/ 5815116 w 5815116"/>
              <a:gd name="connsiteY4" fmla="*/ 890651 h 914668"/>
              <a:gd name="connsiteX5" fmla="*/ 573608 w 5815116"/>
              <a:gd name="connsiteY5" fmla="*/ 914668 h 914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15116" h="914668">
                <a:moveTo>
                  <a:pt x="199390" y="895350"/>
                </a:moveTo>
                <a:lnTo>
                  <a:pt x="0" y="895350"/>
                </a:lnTo>
                <a:lnTo>
                  <a:pt x="0" y="0"/>
                </a:lnTo>
                <a:lnTo>
                  <a:pt x="5815116" y="0"/>
                </a:lnTo>
                <a:lnTo>
                  <a:pt x="5815116" y="890651"/>
                </a:lnTo>
                <a:lnTo>
                  <a:pt x="573608" y="914668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object 6"/>
          <p:cNvSpPr/>
          <p:nvPr/>
        </p:nvSpPr>
        <p:spPr>
          <a:xfrm>
            <a:off x="1685468" y="3134114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object 7"/>
          <p:cNvSpPr txBox="1"/>
          <p:nvPr/>
        </p:nvSpPr>
        <p:spPr>
          <a:xfrm>
            <a:off x="1057935" y="2825060"/>
            <a:ext cx="4889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7200" spc="-40" dirty="0" smtClean="0">
                <a:solidFill>
                  <a:srgbClr val="7E7E7E"/>
                </a:solidFill>
                <a:latin typeface="Calibri"/>
                <a:cs typeface="Calibri"/>
              </a:rPr>
              <a:t>5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0" name="object 8"/>
          <p:cNvSpPr txBox="1"/>
          <p:nvPr/>
        </p:nvSpPr>
        <p:spPr>
          <a:xfrm>
            <a:off x="1967533" y="1945575"/>
            <a:ext cx="9529067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Generate “p_data1.txt” file, where the numerical values from data1.txt times 2. Next, follow the same procedure to generate “p_data2.txt”,  where the header are </a:t>
            </a:r>
            <a:r>
              <a:rPr lang="en-US" altLang="zh-TW" spc="-10" dirty="0" smtClean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preserved.</a:t>
            </a:r>
            <a:r>
              <a:rPr lang="zh-TW" altLang="en-US" spc="-10" dirty="0" smtClean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   </a:t>
            </a:r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</a:t>
            </a:r>
            <a:r>
              <a:rPr lang="en-US" altLang="zh-TW" b="1" spc="-10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20%)</a:t>
            </a:r>
            <a:endParaRPr lang="pt-BR" b="1" spc="-1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微軟正黑體" panose="020B0604030504040204" pitchFamily="34" charset="-120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06748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教學影片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D0BA13-1C5E-40B6-BB8D-C972D465206B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TW" alt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"/>
          </p:nvPr>
        </p:nvSpPr>
        <p:spPr>
          <a:xfrm>
            <a:off x="3944378" y="3056895"/>
            <a:ext cx="6040054" cy="46085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altLang="zh-TW" sz="2400" dirty="0" smtClean="0">
                <a:uFill>
                  <a:solidFill>
                    <a:srgbClr val="0000FF"/>
                  </a:solidFill>
                </a:uFill>
                <a:hlinkClick r:id="rId2"/>
              </a:rPr>
              <a:t>DSP Lab 2</a:t>
            </a:r>
            <a:r>
              <a:rPr lang="zh-TW" altLang="en-US" sz="2400" dirty="0" smtClean="0">
                <a:uFill>
                  <a:solidFill>
                    <a:srgbClr val="0000FF"/>
                  </a:solidFill>
                </a:uFill>
                <a:hlinkClick r:id="rId2"/>
              </a:rPr>
              <a:t>：</a:t>
            </a:r>
            <a:r>
              <a:rPr lang="en-US" altLang="zh-TW" sz="2400" dirty="0" smtClean="0">
                <a:uFill>
                  <a:solidFill>
                    <a:srgbClr val="0000FF"/>
                  </a:solidFill>
                </a:uFill>
                <a:hlinkClick r:id="rId2"/>
              </a:rPr>
              <a:t>MATLAB </a:t>
            </a:r>
            <a:r>
              <a:rPr lang="zh-TW" altLang="en-US" sz="2400" dirty="0" smtClean="0">
                <a:uFill>
                  <a:solidFill>
                    <a:srgbClr val="0000FF"/>
                  </a:solidFill>
                </a:uFill>
                <a:hlinkClick r:id="rId2"/>
              </a:rPr>
              <a:t>基本繪圖與訊號處理</a:t>
            </a:r>
            <a:endParaRPr lang="en-US" altLang="zh-TW" sz="2400" dirty="0">
              <a:uFill>
                <a:solidFill>
                  <a:srgbClr val="0000FF"/>
                </a:solidFill>
              </a:uFill>
              <a:hlinkClick r:id="rId2"/>
            </a:endParaRPr>
          </a:p>
        </p:txBody>
      </p:sp>
      <p:sp>
        <p:nvSpPr>
          <p:cNvPr id="7" name="object 3"/>
          <p:cNvSpPr>
            <a:spLocks noChangeAspect="1"/>
          </p:cNvSpPr>
          <p:nvPr/>
        </p:nvSpPr>
        <p:spPr>
          <a:xfrm>
            <a:off x="8112224" y="3863880"/>
            <a:ext cx="1358485" cy="1887619"/>
          </a:xfrm>
          <a:custGeom>
            <a:avLst/>
            <a:gdLst/>
            <a:ahLst/>
            <a:cxnLst/>
            <a:rect l="l" t="t" r="r" b="b"/>
            <a:pathLst>
              <a:path w="1669415" h="2319654">
                <a:moveTo>
                  <a:pt x="659119" y="0"/>
                </a:moveTo>
                <a:lnTo>
                  <a:pt x="584951" y="0"/>
                </a:lnTo>
                <a:lnTo>
                  <a:pt x="584951" y="290195"/>
                </a:lnTo>
                <a:lnTo>
                  <a:pt x="659119" y="290195"/>
                </a:lnTo>
                <a:lnTo>
                  <a:pt x="659119" y="0"/>
                </a:lnTo>
                <a:close/>
              </a:path>
              <a:path w="1669415" h="2319654">
                <a:moveTo>
                  <a:pt x="225446" y="1036447"/>
                </a:moveTo>
                <a:lnTo>
                  <a:pt x="70194" y="1036447"/>
                </a:lnTo>
                <a:lnTo>
                  <a:pt x="53603" y="1049147"/>
                </a:lnTo>
                <a:lnTo>
                  <a:pt x="19275" y="1087247"/>
                </a:lnTo>
                <a:lnTo>
                  <a:pt x="743" y="1138047"/>
                </a:lnTo>
                <a:lnTo>
                  <a:pt x="0" y="1163447"/>
                </a:lnTo>
                <a:lnTo>
                  <a:pt x="4424" y="1201547"/>
                </a:lnTo>
                <a:lnTo>
                  <a:pt x="13632" y="1226947"/>
                </a:lnTo>
                <a:lnTo>
                  <a:pt x="27238" y="1265047"/>
                </a:lnTo>
                <a:lnTo>
                  <a:pt x="44856" y="1303147"/>
                </a:lnTo>
                <a:lnTo>
                  <a:pt x="66101" y="1341247"/>
                </a:lnTo>
                <a:lnTo>
                  <a:pt x="90588" y="1379347"/>
                </a:lnTo>
                <a:lnTo>
                  <a:pt x="117931" y="1430147"/>
                </a:lnTo>
                <a:lnTo>
                  <a:pt x="147746" y="1480947"/>
                </a:lnTo>
                <a:lnTo>
                  <a:pt x="179647" y="1519047"/>
                </a:lnTo>
                <a:lnTo>
                  <a:pt x="213248" y="1569847"/>
                </a:lnTo>
                <a:lnTo>
                  <a:pt x="248165" y="1620647"/>
                </a:lnTo>
                <a:lnTo>
                  <a:pt x="284012" y="1684147"/>
                </a:lnTo>
                <a:lnTo>
                  <a:pt x="320404" y="1734947"/>
                </a:lnTo>
                <a:lnTo>
                  <a:pt x="356955" y="1798447"/>
                </a:lnTo>
                <a:lnTo>
                  <a:pt x="393281" y="1861947"/>
                </a:lnTo>
                <a:lnTo>
                  <a:pt x="428995" y="1925447"/>
                </a:lnTo>
                <a:lnTo>
                  <a:pt x="454095" y="1963547"/>
                </a:lnTo>
                <a:lnTo>
                  <a:pt x="480241" y="2001647"/>
                </a:lnTo>
                <a:lnTo>
                  <a:pt x="507366" y="2039747"/>
                </a:lnTo>
                <a:lnTo>
                  <a:pt x="535407" y="2077847"/>
                </a:lnTo>
                <a:lnTo>
                  <a:pt x="564298" y="2115947"/>
                </a:lnTo>
                <a:lnTo>
                  <a:pt x="593974" y="2141347"/>
                </a:lnTo>
                <a:lnTo>
                  <a:pt x="624369" y="2166747"/>
                </a:lnTo>
                <a:lnTo>
                  <a:pt x="655419" y="2192147"/>
                </a:lnTo>
                <a:lnTo>
                  <a:pt x="687058" y="2217547"/>
                </a:lnTo>
                <a:lnTo>
                  <a:pt x="719222" y="2230247"/>
                </a:lnTo>
                <a:lnTo>
                  <a:pt x="751845" y="2255647"/>
                </a:lnTo>
                <a:lnTo>
                  <a:pt x="885624" y="2306447"/>
                </a:lnTo>
                <a:lnTo>
                  <a:pt x="919565" y="2306447"/>
                </a:lnTo>
                <a:lnTo>
                  <a:pt x="953574" y="2319147"/>
                </a:lnTo>
                <a:lnTo>
                  <a:pt x="1154540" y="2319147"/>
                </a:lnTo>
                <a:lnTo>
                  <a:pt x="1248757" y="2293747"/>
                </a:lnTo>
                <a:lnTo>
                  <a:pt x="1293601" y="2281047"/>
                </a:lnTo>
                <a:lnTo>
                  <a:pt x="1336721" y="2255647"/>
                </a:lnTo>
                <a:lnTo>
                  <a:pt x="1015522" y="2255647"/>
                </a:lnTo>
                <a:lnTo>
                  <a:pt x="977277" y="2242947"/>
                </a:lnTo>
                <a:lnTo>
                  <a:pt x="940566" y="2242947"/>
                </a:lnTo>
                <a:lnTo>
                  <a:pt x="905333" y="2230247"/>
                </a:lnTo>
                <a:lnTo>
                  <a:pt x="871519" y="2230247"/>
                </a:lnTo>
                <a:lnTo>
                  <a:pt x="839067" y="2217547"/>
                </a:lnTo>
                <a:lnTo>
                  <a:pt x="807920" y="2204847"/>
                </a:lnTo>
                <a:lnTo>
                  <a:pt x="778020" y="2192147"/>
                </a:lnTo>
                <a:lnTo>
                  <a:pt x="749309" y="2166747"/>
                </a:lnTo>
                <a:lnTo>
                  <a:pt x="721730" y="2154047"/>
                </a:lnTo>
                <a:lnTo>
                  <a:pt x="695226" y="2128647"/>
                </a:lnTo>
                <a:lnTo>
                  <a:pt x="669739" y="2115947"/>
                </a:lnTo>
                <a:lnTo>
                  <a:pt x="645210" y="2090547"/>
                </a:lnTo>
                <a:lnTo>
                  <a:pt x="621584" y="2065147"/>
                </a:lnTo>
                <a:lnTo>
                  <a:pt x="598802" y="2039747"/>
                </a:lnTo>
                <a:lnTo>
                  <a:pt x="576807" y="2014347"/>
                </a:lnTo>
                <a:lnTo>
                  <a:pt x="555541" y="1976247"/>
                </a:lnTo>
                <a:lnTo>
                  <a:pt x="534947" y="1950847"/>
                </a:lnTo>
                <a:lnTo>
                  <a:pt x="514967" y="1925447"/>
                </a:lnTo>
                <a:lnTo>
                  <a:pt x="495543" y="1887347"/>
                </a:lnTo>
                <a:lnTo>
                  <a:pt x="453950" y="1823847"/>
                </a:lnTo>
                <a:lnTo>
                  <a:pt x="413664" y="1747647"/>
                </a:lnTo>
                <a:lnTo>
                  <a:pt x="374841" y="1696847"/>
                </a:lnTo>
                <a:lnTo>
                  <a:pt x="337636" y="1633347"/>
                </a:lnTo>
                <a:lnTo>
                  <a:pt x="302204" y="1582547"/>
                </a:lnTo>
                <a:lnTo>
                  <a:pt x="268700" y="1531747"/>
                </a:lnTo>
                <a:lnTo>
                  <a:pt x="237280" y="1480947"/>
                </a:lnTo>
                <a:lnTo>
                  <a:pt x="208099" y="1430147"/>
                </a:lnTo>
                <a:lnTo>
                  <a:pt x="181311" y="1392047"/>
                </a:lnTo>
                <a:lnTo>
                  <a:pt x="157072" y="1353947"/>
                </a:lnTo>
                <a:lnTo>
                  <a:pt x="135538" y="1315847"/>
                </a:lnTo>
                <a:lnTo>
                  <a:pt x="116863" y="1277747"/>
                </a:lnTo>
                <a:lnTo>
                  <a:pt x="101202" y="1252347"/>
                </a:lnTo>
                <a:lnTo>
                  <a:pt x="88711" y="1226947"/>
                </a:lnTo>
                <a:lnTo>
                  <a:pt x="79545" y="1201547"/>
                </a:lnTo>
                <a:lnTo>
                  <a:pt x="73859" y="1176147"/>
                </a:lnTo>
                <a:lnTo>
                  <a:pt x="71807" y="1163447"/>
                </a:lnTo>
                <a:lnTo>
                  <a:pt x="73547" y="1138047"/>
                </a:lnTo>
                <a:lnTo>
                  <a:pt x="79231" y="1125347"/>
                </a:lnTo>
                <a:lnTo>
                  <a:pt x="89016" y="1112647"/>
                </a:lnTo>
                <a:lnTo>
                  <a:pt x="101765" y="1099947"/>
                </a:lnTo>
                <a:lnTo>
                  <a:pt x="333775" y="1099947"/>
                </a:lnTo>
                <a:lnTo>
                  <a:pt x="246773" y="1049147"/>
                </a:lnTo>
                <a:lnTo>
                  <a:pt x="225446" y="1036447"/>
                </a:lnTo>
                <a:close/>
              </a:path>
              <a:path w="1669415" h="2319654">
                <a:moveTo>
                  <a:pt x="1594855" y="1709547"/>
                </a:moveTo>
                <a:lnTo>
                  <a:pt x="1593076" y="1747647"/>
                </a:lnTo>
                <a:lnTo>
                  <a:pt x="1587828" y="1798447"/>
                </a:lnTo>
                <a:lnTo>
                  <a:pt x="1579248" y="1836547"/>
                </a:lnTo>
                <a:lnTo>
                  <a:pt x="1567472" y="1874647"/>
                </a:lnTo>
                <a:lnTo>
                  <a:pt x="1552636" y="1912747"/>
                </a:lnTo>
                <a:lnTo>
                  <a:pt x="1534875" y="1950847"/>
                </a:lnTo>
                <a:lnTo>
                  <a:pt x="1514327" y="1988947"/>
                </a:lnTo>
                <a:lnTo>
                  <a:pt x="1491126" y="2027047"/>
                </a:lnTo>
                <a:lnTo>
                  <a:pt x="1465409" y="2052447"/>
                </a:lnTo>
                <a:lnTo>
                  <a:pt x="1437312" y="2090547"/>
                </a:lnTo>
                <a:lnTo>
                  <a:pt x="1406971" y="2115947"/>
                </a:lnTo>
                <a:lnTo>
                  <a:pt x="1374522" y="2141347"/>
                </a:lnTo>
                <a:lnTo>
                  <a:pt x="1340100" y="2166747"/>
                </a:lnTo>
                <a:lnTo>
                  <a:pt x="1303843" y="2192147"/>
                </a:lnTo>
                <a:lnTo>
                  <a:pt x="1265886" y="2204847"/>
                </a:lnTo>
                <a:lnTo>
                  <a:pt x="1226364" y="2230247"/>
                </a:lnTo>
                <a:lnTo>
                  <a:pt x="1185415" y="2242947"/>
                </a:lnTo>
                <a:lnTo>
                  <a:pt x="1143174" y="2242947"/>
                </a:lnTo>
                <a:lnTo>
                  <a:pt x="1099777" y="2255647"/>
                </a:lnTo>
                <a:lnTo>
                  <a:pt x="1336721" y="2255647"/>
                </a:lnTo>
                <a:lnTo>
                  <a:pt x="1377956" y="2230247"/>
                </a:lnTo>
                <a:lnTo>
                  <a:pt x="1417143" y="2204847"/>
                </a:lnTo>
                <a:lnTo>
                  <a:pt x="1454122" y="2179447"/>
                </a:lnTo>
                <a:lnTo>
                  <a:pt x="1488731" y="2141347"/>
                </a:lnTo>
                <a:lnTo>
                  <a:pt x="1520810" y="2115947"/>
                </a:lnTo>
                <a:lnTo>
                  <a:pt x="1550196" y="2077847"/>
                </a:lnTo>
                <a:lnTo>
                  <a:pt x="1576729" y="2039747"/>
                </a:lnTo>
                <a:lnTo>
                  <a:pt x="1600248" y="1988947"/>
                </a:lnTo>
                <a:lnTo>
                  <a:pt x="1620591" y="1950847"/>
                </a:lnTo>
                <a:lnTo>
                  <a:pt x="1637596" y="1900047"/>
                </a:lnTo>
                <a:lnTo>
                  <a:pt x="1651104" y="1861947"/>
                </a:lnTo>
                <a:lnTo>
                  <a:pt x="1660952" y="1811147"/>
                </a:lnTo>
                <a:lnTo>
                  <a:pt x="1663965" y="1785747"/>
                </a:lnTo>
                <a:lnTo>
                  <a:pt x="1594855" y="1785747"/>
                </a:lnTo>
                <a:lnTo>
                  <a:pt x="1594855" y="1709547"/>
                </a:lnTo>
                <a:close/>
              </a:path>
              <a:path w="1669415" h="2319654">
                <a:moveTo>
                  <a:pt x="1633016" y="1163447"/>
                </a:moveTo>
                <a:lnTo>
                  <a:pt x="1518208" y="1163447"/>
                </a:lnTo>
                <a:lnTo>
                  <a:pt x="1531372" y="1176147"/>
                </a:lnTo>
                <a:lnTo>
                  <a:pt x="1543591" y="1176147"/>
                </a:lnTo>
                <a:lnTo>
                  <a:pt x="1554760" y="1188847"/>
                </a:lnTo>
                <a:lnTo>
                  <a:pt x="1564776" y="1201547"/>
                </a:lnTo>
                <a:lnTo>
                  <a:pt x="1573535" y="1214247"/>
                </a:lnTo>
                <a:lnTo>
                  <a:pt x="1580934" y="1214247"/>
                </a:lnTo>
                <a:lnTo>
                  <a:pt x="1586869" y="1226947"/>
                </a:lnTo>
                <a:lnTo>
                  <a:pt x="1591237" y="1239647"/>
                </a:lnTo>
                <a:lnTo>
                  <a:pt x="1593933" y="1265047"/>
                </a:lnTo>
                <a:lnTo>
                  <a:pt x="1594855" y="1277747"/>
                </a:lnTo>
                <a:lnTo>
                  <a:pt x="1594855" y="1785747"/>
                </a:lnTo>
                <a:lnTo>
                  <a:pt x="1663965" y="1785747"/>
                </a:lnTo>
                <a:lnTo>
                  <a:pt x="1666979" y="1760347"/>
                </a:lnTo>
                <a:lnTo>
                  <a:pt x="1669023" y="1709547"/>
                </a:lnTo>
                <a:lnTo>
                  <a:pt x="1669023" y="1277747"/>
                </a:lnTo>
                <a:lnTo>
                  <a:pt x="1666618" y="1239647"/>
                </a:lnTo>
                <a:lnTo>
                  <a:pt x="1654473" y="1201547"/>
                </a:lnTo>
                <a:lnTo>
                  <a:pt x="1641138" y="1176147"/>
                </a:lnTo>
                <a:lnTo>
                  <a:pt x="1633016" y="1163447"/>
                </a:lnTo>
                <a:close/>
              </a:path>
              <a:path w="1669415" h="2319654">
                <a:moveTo>
                  <a:pt x="333775" y="1099947"/>
                </a:moveTo>
                <a:lnTo>
                  <a:pt x="187607" y="1099947"/>
                </a:lnTo>
                <a:lnTo>
                  <a:pt x="208323" y="1112647"/>
                </a:lnTo>
                <a:lnTo>
                  <a:pt x="229931" y="1125347"/>
                </a:lnTo>
                <a:lnTo>
                  <a:pt x="252307" y="1138047"/>
                </a:lnTo>
                <a:lnTo>
                  <a:pt x="275325" y="1150747"/>
                </a:lnTo>
                <a:lnTo>
                  <a:pt x="298862" y="1163447"/>
                </a:lnTo>
                <a:lnTo>
                  <a:pt x="322792" y="1188847"/>
                </a:lnTo>
                <a:lnTo>
                  <a:pt x="346991" y="1201547"/>
                </a:lnTo>
                <a:lnTo>
                  <a:pt x="419956" y="1277747"/>
                </a:lnTo>
                <a:lnTo>
                  <a:pt x="443985" y="1290447"/>
                </a:lnTo>
                <a:lnTo>
                  <a:pt x="467660" y="1315847"/>
                </a:lnTo>
                <a:lnTo>
                  <a:pt x="490857" y="1341247"/>
                </a:lnTo>
                <a:lnTo>
                  <a:pt x="513450" y="1366647"/>
                </a:lnTo>
                <a:lnTo>
                  <a:pt x="513475" y="1188847"/>
                </a:lnTo>
                <a:lnTo>
                  <a:pt x="441822" y="1188847"/>
                </a:lnTo>
                <a:lnTo>
                  <a:pt x="420590" y="1176147"/>
                </a:lnTo>
                <a:lnTo>
                  <a:pt x="399108" y="1150747"/>
                </a:lnTo>
                <a:lnTo>
                  <a:pt x="377437" y="1138047"/>
                </a:lnTo>
                <a:lnTo>
                  <a:pt x="355636" y="1112647"/>
                </a:lnTo>
                <a:lnTo>
                  <a:pt x="333775" y="1099947"/>
                </a:lnTo>
                <a:close/>
              </a:path>
              <a:path w="1669415" h="2319654">
                <a:moveTo>
                  <a:pt x="767810" y="439547"/>
                </a:moveTo>
                <a:lnTo>
                  <a:pt x="653260" y="439547"/>
                </a:lnTo>
                <a:lnTo>
                  <a:pt x="666406" y="452247"/>
                </a:lnTo>
                <a:lnTo>
                  <a:pt x="678664" y="452247"/>
                </a:lnTo>
                <a:lnTo>
                  <a:pt x="689917" y="464947"/>
                </a:lnTo>
                <a:lnTo>
                  <a:pt x="700049" y="477647"/>
                </a:lnTo>
                <a:lnTo>
                  <a:pt x="708943" y="490347"/>
                </a:lnTo>
                <a:lnTo>
                  <a:pt x="716481" y="490347"/>
                </a:lnTo>
                <a:lnTo>
                  <a:pt x="722547" y="503047"/>
                </a:lnTo>
                <a:lnTo>
                  <a:pt x="727025" y="515747"/>
                </a:lnTo>
                <a:lnTo>
                  <a:pt x="729797" y="541147"/>
                </a:lnTo>
                <a:lnTo>
                  <a:pt x="730747" y="553847"/>
                </a:lnTo>
                <a:lnTo>
                  <a:pt x="730747" y="1315847"/>
                </a:lnTo>
                <a:lnTo>
                  <a:pt x="802248" y="1315847"/>
                </a:lnTo>
                <a:lnTo>
                  <a:pt x="802256" y="1049147"/>
                </a:lnTo>
                <a:lnTo>
                  <a:pt x="811160" y="1011047"/>
                </a:lnTo>
                <a:lnTo>
                  <a:pt x="825368" y="985647"/>
                </a:lnTo>
                <a:lnTo>
                  <a:pt x="834579" y="985647"/>
                </a:lnTo>
                <a:lnTo>
                  <a:pt x="845030" y="972947"/>
                </a:lnTo>
                <a:lnTo>
                  <a:pt x="856596" y="960247"/>
                </a:lnTo>
                <a:lnTo>
                  <a:pt x="869151" y="960247"/>
                </a:lnTo>
                <a:lnTo>
                  <a:pt x="882572" y="947547"/>
                </a:lnTo>
                <a:lnTo>
                  <a:pt x="1054833" y="947547"/>
                </a:lnTo>
                <a:lnTo>
                  <a:pt x="1046936" y="934847"/>
                </a:lnTo>
                <a:lnTo>
                  <a:pt x="1038254" y="934847"/>
                </a:lnTo>
                <a:lnTo>
                  <a:pt x="1028808" y="922147"/>
                </a:lnTo>
                <a:lnTo>
                  <a:pt x="1018620" y="909447"/>
                </a:lnTo>
                <a:lnTo>
                  <a:pt x="802248" y="909447"/>
                </a:lnTo>
                <a:lnTo>
                  <a:pt x="802248" y="553847"/>
                </a:lnTo>
                <a:lnTo>
                  <a:pt x="799927" y="515747"/>
                </a:lnTo>
                <a:lnTo>
                  <a:pt x="788268" y="477647"/>
                </a:lnTo>
                <a:lnTo>
                  <a:pt x="775537" y="452247"/>
                </a:lnTo>
                <a:lnTo>
                  <a:pt x="767810" y="439547"/>
                </a:lnTo>
                <a:close/>
              </a:path>
              <a:path w="1669415" h="2319654">
                <a:moveTo>
                  <a:pt x="1344804" y="1023747"/>
                </a:moveTo>
                <a:lnTo>
                  <a:pt x="1231021" y="1023747"/>
                </a:lnTo>
                <a:lnTo>
                  <a:pt x="1244168" y="1036447"/>
                </a:lnTo>
                <a:lnTo>
                  <a:pt x="1256425" y="1036447"/>
                </a:lnTo>
                <a:lnTo>
                  <a:pt x="1267674" y="1049147"/>
                </a:lnTo>
                <a:lnTo>
                  <a:pt x="1277801" y="1049147"/>
                </a:lnTo>
                <a:lnTo>
                  <a:pt x="1286688" y="1061847"/>
                </a:lnTo>
                <a:lnTo>
                  <a:pt x="1304753" y="1099947"/>
                </a:lnTo>
                <a:lnTo>
                  <a:pt x="1308470" y="1125347"/>
                </a:lnTo>
                <a:lnTo>
                  <a:pt x="1308470" y="1315847"/>
                </a:lnTo>
                <a:lnTo>
                  <a:pt x="1380098" y="1315847"/>
                </a:lnTo>
                <a:lnTo>
                  <a:pt x="1380155" y="1277747"/>
                </a:lnTo>
                <a:lnTo>
                  <a:pt x="1384757" y="1239647"/>
                </a:lnTo>
                <a:lnTo>
                  <a:pt x="1403942" y="1201547"/>
                </a:lnTo>
                <a:lnTo>
                  <a:pt x="1413139" y="1201547"/>
                </a:lnTo>
                <a:lnTo>
                  <a:pt x="1423540" y="1188847"/>
                </a:lnTo>
                <a:lnTo>
                  <a:pt x="1435026" y="1176147"/>
                </a:lnTo>
                <a:lnTo>
                  <a:pt x="1447479" y="1176147"/>
                </a:lnTo>
                <a:lnTo>
                  <a:pt x="1460781" y="1163447"/>
                </a:lnTo>
                <a:lnTo>
                  <a:pt x="1623976" y="1163447"/>
                </a:lnTo>
                <a:lnTo>
                  <a:pt x="1614056" y="1150747"/>
                </a:lnTo>
                <a:lnTo>
                  <a:pt x="1603295" y="1138047"/>
                </a:lnTo>
                <a:lnTo>
                  <a:pt x="1591733" y="1125347"/>
                </a:lnTo>
                <a:lnTo>
                  <a:pt x="1380098" y="1125347"/>
                </a:lnTo>
                <a:lnTo>
                  <a:pt x="1379493" y="1112647"/>
                </a:lnTo>
                <a:lnTo>
                  <a:pt x="1370779" y="1074547"/>
                </a:lnTo>
                <a:lnTo>
                  <a:pt x="1352697" y="1036447"/>
                </a:lnTo>
                <a:lnTo>
                  <a:pt x="1344804" y="1023747"/>
                </a:lnTo>
                <a:close/>
              </a:path>
              <a:path w="1669415" h="2319654">
                <a:moveTo>
                  <a:pt x="1054833" y="947547"/>
                </a:moveTo>
                <a:lnTo>
                  <a:pt x="940515" y="947547"/>
                </a:lnTo>
                <a:lnTo>
                  <a:pt x="953907" y="960247"/>
                </a:lnTo>
                <a:lnTo>
                  <a:pt x="966400" y="960247"/>
                </a:lnTo>
                <a:lnTo>
                  <a:pt x="977874" y="972947"/>
                </a:lnTo>
                <a:lnTo>
                  <a:pt x="988208" y="985647"/>
                </a:lnTo>
                <a:lnTo>
                  <a:pt x="997282" y="985647"/>
                </a:lnTo>
                <a:lnTo>
                  <a:pt x="1004976" y="998347"/>
                </a:lnTo>
                <a:lnTo>
                  <a:pt x="1011170" y="1011047"/>
                </a:lnTo>
                <a:lnTo>
                  <a:pt x="1015743" y="1023747"/>
                </a:lnTo>
                <a:lnTo>
                  <a:pt x="1018575" y="1036447"/>
                </a:lnTo>
                <a:lnTo>
                  <a:pt x="1019545" y="1061847"/>
                </a:lnTo>
                <a:lnTo>
                  <a:pt x="1019545" y="1239647"/>
                </a:lnTo>
                <a:lnTo>
                  <a:pt x="1091173" y="1239647"/>
                </a:lnTo>
                <a:lnTo>
                  <a:pt x="1091288" y="1125347"/>
                </a:lnTo>
                <a:lnTo>
                  <a:pt x="1101212" y="1087247"/>
                </a:lnTo>
                <a:lnTo>
                  <a:pt x="1125041" y="1049147"/>
                </a:lnTo>
                <a:lnTo>
                  <a:pt x="1135561" y="1036447"/>
                </a:lnTo>
                <a:lnTo>
                  <a:pt x="1147184" y="1036447"/>
                </a:lnTo>
                <a:lnTo>
                  <a:pt x="1159802" y="1023747"/>
                </a:lnTo>
                <a:lnTo>
                  <a:pt x="1344804" y="1023747"/>
                </a:lnTo>
                <a:lnTo>
                  <a:pt x="1336056" y="1011047"/>
                </a:lnTo>
                <a:lnTo>
                  <a:pt x="1326499" y="998347"/>
                </a:lnTo>
                <a:lnTo>
                  <a:pt x="1078127" y="998347"/>
                </a:lnTo>
                <a:lnTo>
                  <a:pt x="1073591" y="985647"/>
                </a:lnTo>
                <a:lnTo>
                  <a:pt x="1068182" y="972947"/>
                </a:lnTo>
                <a:lnTo>
                  <a:pt x="1061922" y="960247"/>
                </a:lnTo>
                <a:lnTo>
                  <a:pt x="1054833" y="947547"/>
                </a:lnTo>
                <a:close/>
              </a:path>
              <a:path w="1669415" h="2319654">
                <a:moveTo>
                  <a:pt x="759232" y="426847"/>
                </a:moveTo>
                <a:lnTo>
                  <a:pt x="484607" y="426847"/>
                </a:lnTo>
                <a:lnTo>
                  <a:pt x="476098" y="439547"/>
                </a:lnTo>
                <a:lnTo>
                  <a:pt x="455763" y="477647"/>
                </a:lnTo>
                <a:lnTo>
                  <a:pt x="444141" y="515747"/>
                </a:lnTo>
                <a:lnTo>
                  <a:pt x="441822" y="553847"/>
                </a:lnTo>
                <a:lnTo>
                  <a:pt x="441822" y="1188847"/>
                </a:lnTo>
                <a:lnTo>
                  <a:pt x="513475" y="1188847"/>
                </a:lnTo>
                <a:lnTo>
                  <a:pt x="513564" y="541147"/>
                </a:lnTo>
                <a:lnTo>
                  <a:pt x="515138" y="528447"/>
                </a:lnTo>
                <a:lnTo>
                  <a:pt x="529997" y="490347"/>
                </a:lnTo>
                <a:lnTo>
                  <a:pt x="547260" y="464947"/>
                </a:lnTo>
                <a:lnTo>
                  <a:pt x="557773" y="464947"/>
                </a:lnTo>
                <a:lnTo>
                  <a:pt x="569393" y="452247"/>
                </a:lnTo>
                <a:lnTo>
                  <a:pt x="582012" y="452247"/>
                </a:lnTo>
                <a:lnTo>
                  <a:pt x="595521" y="439547"/>
                </a:lnTo>
                <a:lnTo>
                  <a:pt x="767810" y="439547"/>
                </a:lnTo>
                <a:lnTo>
                  <a:pt x="759232" y="426847"/>
                </a:lnTo>
                <a:close/>
              </a:path>
              <a:path w="1669415" h="2319654">
                <a:moveTo>
                  <a:pt x="1566358" y="1112647"/>
                </a:moveTo>
                <a:lnTo>
                  <a:pt x="1401491" y="1112647"/>
                </a:lnTo>
                <a:lnTo>
                  <a:pt x="1390599" y="1125347"/>
                </a:lnTo>
                <a:lnTo>
                  <a:pt x="1579408" y="1125347"/>
                </a:lnTo>
                <a:lnTo>
                  <a:pt x="1566358" y="1112647"/>
                </a:lnTo>
                <a:close/>
              </a:path>
              <a:path w="1669415" h="2319654">
                <a:moveTo>
                  <a:pt x="1538242" y="1099947"/>
                </a:moveTo>
                <a:lnTo>
                  <a:pt x="1436513" y="1099947"/>
                </a:lnTo>
                <a:lnTo>
                  <a:pt x="1424450" y="1112647"/>
                </a:lnTo>
                <a:lnTo>
                  <a:pt x="1552623" y="1112647"/>
                </a:lnTo>
                <a:lnTo>
                  <a:pt x="1538242" y="1099947"/>
                </a:lnTo>
                <a:close/>
              </a:path>
              <a:path w="1669415" h="2319654">
                <a:moveTo>
                  <a:pt x="183715" y="1023747"/>
                </a:moveTo>
                <a:lnTo>
                  <a:pt x="105612" y="1023747"/>
                </a:lnTo>
                <a:lnTo>
                  <a:pt x="87550" y="1036447"/>
                </a:lnTo>
                <a:lnTo>
                  <a:pt x="204407" y="1036447"/>
                </a:lnTo>
                <a:lnTo>
                  <a:pt x="183715" y="1023747"/>
                </a:lnTo>
                <a:close/>
              </a:path>
              <a:path w="1669415" h="2319654">
                <a:moveTo>
                  <a:pt x="1293440" y="972947"/>
                </a:moveTo>
                <a:lnTo>
                  <a:pt x="1098786" y="972947"/>
                </a:lnTo>
                <a:lnTo>
                  <a:pt x="1088247" y="985647"/>
                </a:lnTo>
                <a:lnTo>
                  <a:pt x="1078127" y="998347"/>
                </a:lnTo>
                <a:lnTo>
                  <a:pt x="1326499" y="998347"/>
                </a:lnTo>
                <a:lnTo>
                  <a:pt x="1316180" y="985647"/>
                </a:lnTo>
                <a:lnTo>
                  <a:pt x="1305145" y="985647"/>
                </a:lnTo>
                <a:lnTo>
                  <a:pt x="1293440" y="972947"/>
                </a:lnTo>
                <a:close/>
              </a:path>
              <a:path w="1669415" h="2319654">
                <a:moveTo>
                  <a:pt x="1268209" y="960247"/>
                </a:moveTo>
                <a:lnTo>
                  <a:pt x="1121070" y="960247"/>
                </a:lnTo>
                <a:lnTo>
                  <a:pt x="1109731" y="972947"/>
                </a:lnTo>
                <a:lnTo>
                  <a:pt x="1281113" y="972947"/>
                </a:lnTo>
                <a:lnTo>
                  <a:pt x="1268209" y="960247"/>
                </a:lnTo>
                <a:close/>
              </a:path>
              <a:path w="1669415" h="2319654">
                <a:moveTo>
                  <a:pt x="1226502" y="947547"/>
                </a:moveTo>
                <a:lnTo>
                  <a:pt x="1157323" y="947547"/>
                </a:lnTo>
                <a:lnTo>
                  <a:pt x="1144879" y="960247"/>
                </a:lnTo>
                <a:lnTo>
                  <a:pt x="1240857" y="960247"/>
                </a:lnTo>
                <a:lnTo>
                  <a:pt x="1226502" y="947547"/>
                </a:lnTo>
                <a:close/>
              </a:path>
              <a:path w="1669415" h="2319654">
                <a:moveTo>
                  <a:pt x="996106" y="896747"/>
                </a:moveTo>
                <a:lnTo>
                  <a:pt x="823678" y="896747"/>
                </a:lnTo>
                <a:lnTo>
                  <a:pt x="812772" y="909447"/>
                </a:lnTo>
                <a:lnTo>
                  <a:pt x="1007712" y="909447"/>
                </a:lnTo>
                <a:lnTo>
                  <a:pt x="996106" y="896747"/>
                </a:lnTo>
                <a:close/>
              </a:path>
              <a:path w="1669415" h="2319654">
                <a:moveTo>
                  <a:pt x="970887" y="884047"/>
                </a:moveTo>
                <a:lnTo>
                  <a:pt x="846638" y="884047"/>
                </a:lnTo>
                <a:lnTo>
                  <a:pt x="834967" y="896747"/>
                </a:lnTo>
                <a:lnTo>
                  <a:pt x="983824" y="896747"/>
                </a:lnTo>
                <a:lnTo>
                  <a:pt x="970887" y="884047"/>
                </a:lnTo>
                <a:close/>
              </a:path>
              <a:path w="1669415" h="2319654">
                <a:moveTo>
                  <a:pt x="897151" y="871347"/>
                </a:moveTo>
                <a:lnTo>
                  <a:pt x="883949" y="884047"/>
                </a:lnTo>
                <a:lnTo>
                  <a:pt x="913033" y="884047"/>
                </a:lnTo>
                <a:lnTo>
                  <a:pt x="897151" y="871347"/>
                </a:lnTo>
                <a:close/>
              </a:path>
              <a:path w="1669415" h="2319654">
                <a:moveTo>
                  <a:pt x="331840" y="617347"/>
                </a:moveTo>
                <a:lnTo>
                  <a:pt x="50662" y="680847"/>
                </a:lnTo>
                <a:lnTo>
                  <a:pt x="68569" y="757047"/>
                </a:lnTo>
                <a:lnTo>
                  <a:pt x="349747" y="680847"/>
                </a:lnTo>
                <a:lnTo>
                  <a:pt x="331840" y="617347"/>
                </a:lnTo>
                <a:close/>
              </a:path>
              <a:path w="1669415" h="2319654">
                <a:moveTo>
                  <a:pt x="912230" y="617347"/>
                </a:moveTo>
                <a:lnTo>
                  <a:pt x="894323" y="680847"/>
                </a:lnTo>
                <a:lnTo>
                  <a:pt x="1175501" y="757047"/>
                </a:lnTo>
                <a:lnTo>
                  <a:pt x="1193408" y="680847"/>
                </a:lnTo>
                <a:lnTo>
                  <a:pt x="912230" y="617347"/>
                </a:lnTo>
                <a:close/>
              </a:path>
              <a:path w="1669415" h="2319654">
                <a:moveTo>
                  <a:pt x="196331" y="198247"/>
                </a:moveTo>
                <a:lnTo>
                  <a:pt x="150357" y="249047"/>
                </a:lnTo>
                <a:lnTo>
                  <a:pt x="375274" y="426847"/>
                </a:lnTo>
                <a:lnTo>
                  <a:pt x="421375" y="376047"/>
                </a:lnTo>
                <a:lnTo>
                  <a:pt x="196331" y="198247"/>
                </a:lnTo>
                <a:close/>
              </a:path>
              <a:path w="1669415" h="2319654">
                <a:moveTo>
                  <a:pt x="728813" y="401447"/>
                </a:moveTo>
                <a:lnTo>
                  <a:pt x="514709" y="401447"/>
                </a:lnTo>
                <a:lnTo>
                  <a:pt x="503957" y="414147"/>
                </a:lnTo>
                <a:lnTo>
                  <a:pt x="493908" y="426847"/>
                </a:lnTo>
                <a:lnTo>
                  <a:pt x="749845" y="426847"/>
                </a:lnTo>
                <a:lnTo>
                  <a:pt x="739691" y="414147"/>
                </a:lnTo>
                <a:lnTo>
                  <a:pt x="728813" y="401447"/>
                </a:lnTo>
                <a:close/>
              </a:path>
              <a:path w="1669415" h="2319654">
                <a:moveTo>
                  <a:pt x="1047739" y="198247"/>
                </a:moveTo>
                <a:lnTo>
                  <a:pt x="822695" y="376047"/>
                </a:lnTo>
                <a:lnTo>
                  <a:pt x="868796" y="426847"/>
                </a:lnTo>
                <a:lnTo>
                  <a:pt x="1093713" y="249047"/>
                </a:lnTo>
                <a:lnTo>
                  <a:pt x="1047739" y="198247"/>
                </a:lnTo>
                <a:close/>
              </a:path>
              <a:path w="1669415" h="2319654">
                <a:moveTo>
                  <a:pt x="705051" y="388747"/>
                </a:moveTo>
                <a:lnTo>
                  <a:pt x="538148" y="388747"/>
                </a:lnTo>
                <a:lnTo>
                  <a:pt x="526121" y="401447"/>
                </a:lnTo>
                <a:lnTo>
                  <a:pt x="717252" y="401447"/>
                </a:lnTo>
                <a:lnTo>
                  <a:pt x="705051" y="388747"/>
                </a:lnTo>
                <a:close/>
              </a:path>
              <a:path w="1669415" h="2319654">
                <a:moveTo>
                  <a:pt x="678898" y="376047"/>
                </a:moveTo>
                <a:lnTo>
                  <a:pt x="563872" y="376047"/>
                </a:lnTo>
                <a:lnTo>
                  <a:pt x="550747" y="388747"/>
                </a:lnTo>
                <a:lnTo>
                  <a:pt x="692252" y="388747"/>
                </a:lnTo>
                <a:lnTo>
                  <a:pt x="678898" y="376047"/>
                </a:lnTo>
                <a:close/>
              </a:path>
              <a:path w="1669415" h="2319654">
                <a:moveTo>
                  <a:pt x="635921" y="363347"/>
                </a:moveTo>
                <a:lnTo>
                  <a:pt x="605972" y="363347"/>
                </a:lnTo>
                <a:lnTo>
                  <a:pt x="591529" y="376047"/>
                </a:lnTo>
                <a:lnTo>
                  <a:pt x="650690" y="376047"/>
                </a:lnTo>
                <a:lnTo>
                  <a:pt x="635921" y="363347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Freeform 483"/>
          <p:cNvSpPr>
            <a:spLocks noChangeAspect="1"/>
          </p:cNvSpPr>
          <p:nvPr/>
        </p:nvSpPr>
        <p:spPr>
          <a:xfrm>
            <a:off x="2063552" y="2708920"/>
            <a:ext cx="1620000" cy="1156807"/>
          </a:xfrm>
          <a:custGeom>
            <a:avLst/>
            <a:gdLst/>
            <a:ahLst/>
            <a:cxnLst/>
            <a:rect l="l" t="t" r="r" b="b"/>
            <a:pathLst>
              <a:path w="504824" h="360589">
                <a:moveTo>
                  <a:pt x="252412" y="0"/>
                </a:moveTo>
                <a:cubicBezTo>
                  <a:pt x="336737" y="0"/>
                  <a:pt x="399746" y="2348"/>
                  <a:pt x="441440" y="7043"/>
                </a:cubicBezTo>
                <a:cubicBezTo>
                  <a:pt x="454774" y="8545"/>
                  <a:pt x="466465" y="13992"/>
                  <a:pt x="476512" y="23382"/>
                </a:cubicBezTo>
                <a:cubicBezTo>
                  <a:pt x="486561" y="32772"/>
                  <a:pt x="493086" y="44322"/>
                  <a:pt x="496091" y="58032"/>
                </a:cubicBezTo>
                <a:cubicBezTo>
                  <a:pt x="498720" y="70240"/>
                  <a:pt x="500739" y="84090"/>
                  <a:pt x="502147" y="99585"/>
                </a:cubicBezTo>
                <a:cubicBezTo>
                  <a:pt x="503556" y="115078"/>
                  <a:pt x="504354" y="127896"/>
                  <a:pt x="504542" y="138038"/>
                </a:cubicBezTo>
                <a:cubicBezTo>
                  <a:pt x="504730" y="148180"/>
                  <a:pt x="504824" y="162265"/>
                  <a:pt x="504824" y="180294"/>
                </a:cubicBezTo>
                <a:cubicBezTo>
                  <a:pt x="504824" y="198324"/>
                  <a:pt x="504730" y="212409"/>
                  <a:pt x="504542" y="222551"/>
                </a:cubicBezTo>
                <a:cubicBezTo>
                  <a:pt x="504354" y="232693"/>
                  <a:pt x="503556" y="245511"/>
                  <a:pt x="502147" y="261004"/>
                </a:cubicBezTo>
                <a:cubicBezTo>
                  <a:pt x="500739" y="276499"/>
                  <a:pt x="498626" y="290349"/>
                  <a:pt x="495809" y="302557"/>
                </a:cubicBezTo>
                <a:cubicBezTo>
                  <a:pt x="492805" y="316267"/>
                  <a:pt x="486325" y="327817"/>
                  <a:pt x="476371" y="337207"/>
                </a:cubicBezTo>
                <a:cubicBezTo>
                  <a:pt x="466418" y="346597"/>
                  <a:pt x="454774" y="352044"/>
                  <a:pt x="441440" y="353546"/>
                </a:cubicBezTo>
                <a:cubicBezTo>
                  <a:pt x="399746" y="358241"/>
                  <a:pt x="336737" y="360589"/>
                  <a:pt x="252412" y="360589"/>
                </a:cubicBezTo>
                <a:cubicBezTo>
                  <a:pt x="168087" y="360589"/>
                  <a:pt x="105078" y="358241"/>
                  <a:pt x="63384" y="353546"/>
                </a:cubicBezTo>
                <a:cubicBezTo>
                  <a:pt x="50050" y="352044"/>
                  <a:pt x="38359" y="346597"/>
                  <a:pt x="28311" y="337207"/>
                </a:cubicBezTo>
                <a:cubicBezTo>
                  <a:pt x="18264" y="327817"/>
                  <a:pt x="11737" y="316267"/>
                  <a:pt x="8733" y="302557"/>
                </a:cubicBezTo>
                <a:cubicBezTo>
                  <a:pt x="6103" y="290349"/>
                  <a:pt x="4084" y="276499"/>
                  <a:pt x="2676" y="261004"/>
                </a:cubicBezTo>
                <a:cubicBezTo>
                  <a:pt x="1267" y="245511"/>
                  <a:pt x="469" y="232693"/>
                  <a:pt x="281" y="222551"/>
                </a:cubicBezTo>
                <a:cubicBezTo>
                  <a:pt x="93" y="212409"/>
                  <a:pt x="0" y="198324"/>
                  <a:pt x="0" y="180294"/>
                </a:cubicBezTo>
                <a:cubicBezTo>
                  <a:pt x="0" y="162265"/>
                  <a:pt x="93" y="148180"/>
                  <a:pt x="281" y="138038"/>
                </a:cubicBezTo>
                <a:cubicBezTo>
                  <a:pt x="469" y="127896"/>
                  <a:pt x="1267" y="115078"/>
                  <a:pt x="2676" y="99585"/>
                </a:cubicBezTo>
                <a:cubicBezTo>
                  <a:pt x="4084" y="84090"/>
                  <a:pt x="6197" y="70240"/>
                  <a:pt x="9014" y="58032"/>
                </a:cubicBezTo>
                <a:cubicBezTo>
                  <a:pt x="12019" y="44322"/>
                  <a:pt x="18498" y="32772"/>
                  <a:pt x="28453" y="23382"/>
                </a:cubicBezTo>
                <a:cubicBezTo>
                  <a:pt x="38406" y="13992"/>
                  <a:pt x="50050" y="8545"/>
                  <a:pt x="63384" y="7043"/>
                </a:cubicBezTo>
                <a:cubicBezTo>
                  <a:pt x="105078" y="2348"/>
                  <a:pt x="168087" y="0"/>
                  <a:pt x="252412" y="0"/>
                </a:cubicBezTo>
                <a:close/>
                <a:moveTo>
                  <a:pt x="198958" y="71977"/>
                </a:moveTo>
                <a:cubicBezTo>
                  <a:pt x="195906" y="71883"/>
                  <a:pt x="192783" y="72681"/>
                  <a:pt x="189591" y="74371"/>
                </a:cubicBezTo>
                <a:cubicBezTo>
                  <a:pt x="183393" y="77752"/>
                  <a:pt x="180294" y="83011"/>
                  <a:pt x="180294" y="90147"/>
                </a:cubicBezTo>
                <a:lnTo>
                  <a:pt x="180294" y="270442"/>
                </a:lnTo>
                <a:cubicBezTo>
                  <a:pt x="180294" y="277578"/>
                  <a:pt x="183393" y="282837"/>
                  <a:pt x="189591" y="286218"/>
                </a:cubicBezTo>
                <a:cubicBezTo>
                  <a:pt x="192595" y="287720"/>
                  <a:pt x="195507" y="288471"/>
                  <a:pt x="198324" y="288471"/>
                </a:cubicBezTo>
                <a:cubicBezTo>
                  <a:pt x="202080" y="288471"/>
                  <a:pt x="205273" y="287532"/>
                  <a:pt x="207902" y="285654"/>
                </a:cubicBezTo>
                <a:lnTo>
                  <a:pt x="352137" y="195507"/>
                </a:lnTo>
                <a:cubicBezTo>
                  <a:pt x="357771" y="192314"/>
                  <a:pt x="360588" y="187243"/>
                  <a:pt x="360588" y="180294"/>
                </a:cubicBezTo>
                <a:cubicBezTo>
                  <a:pt x="360588" y="173345"/>
                  <a:pt x="357771" y="168275"/>
                  <a:pt x="352137" y="165082"/>
                </a:cubicBezTo>
                <a:lnTo>
                  <a:pt x="207902" y="74935"/>
                </a:lnTo>
                <a:cubicBezTo>
                  <a:pt x="204991" y="73057"/>
                  <a:pt x="202009" y="72071"/>
                  <a:pt x="198958" y="71977"/>
                </a:cubicBezTo>
                <a:close/>
              </a:path>
            </a:pathLst>
          </a:cu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9327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二維基本繪圖指令</a:t>
            </a:r>
            <a:endParaRPr lang="zh-TW" altLang="zh-TW" dirty="0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D0BA13-1C5E-40B6-BB8D-C972D465206B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TW" alt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7" name="Text Placeholder 3"/>
          <p:cNvSpPr txBox="1">
            <a:spLocks/>
          </p:cNvSpPr>
          <p:nvPr/>
        </p:nvSpPr>
        <p:spPr>
          <a:xfrm>
            <a:off x="1659053" y="3116584"/>
            <a:ext cx="4328301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figure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：開啟或切換繪圖視窗（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figure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）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1659053" y="1839718"/>
            <a:ext cx="3855414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lang="en-US" altLang="zh-TW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plot</a:t>
            </a:r>
            <a:r>
              <a:rPr lang="zh-TW" altLang="en-US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：畫二維線性座標 </a:t>
            </a:r>
            <a:r>
              <a:rPr lang="en-US" altLang="zh-TW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X-Y </a:t>
            </a:r>
            <a:r>
              <a:rPr lang="zh-TW" altLang="en-US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關係圖</a:t>
            </a:r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1659053" y="2478151"/>
            <a:ext cx="4328301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loglog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：畫二維全對數座標 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X-Y 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關係圖</a:t>
            </a:r>
          </a:p>
        </p:txBody>
      </p:sp>
      <p:sp>
        <p:nvSpPr>
          <p:cNvPr id="13" name="Text Placeholder 3"/>
          <p:cNvSpPr txBox="1">
            <a:spLocks/>
          </p:cNvSpPr>
          <p:nvPr/>
        </p:nvSpPr>
        <p:spPr>
          <a:xfrm>
            <a:off x="1659053" y="3755017"/>
            <a:ext cx="4773743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lang="en-US" altLang="zh-TW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subplot</a:t>
            </a:r>
            <a:r>
              <a:rPr lang="zh-TW" altLang="en-US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：切割繪圖視窗為數個子繪圖視窗</a:t>
            </a:r>
          </a:p>
        </p:txBody>
      </p:sp>
      <p:sp>
        <p:nvSpPr>
          <p:cNvPr id="15" name="Text Placeholder 3"/>
          <p:cNvSpPr txBox="1">
            <a:spLocks/>
          </p:cNvSpPr>
          <p:nvPr/>
        </p:nvSpPr>
        <p:spPr>
          <a:xfrm>
            <a:off x="1659053" y="4393450"/>
            <a:ext cx="4724979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lang="en-US" altLang="zh-TW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hold</a:t>
            </a:r>
            <a:r>
              <a:rPr lang="zh-TW" altLang="en-US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：保留目前繪圖視窗中的圖形</a:t>
            </a:r>
          </a:p>
        </p:txBody>
      </p:sp>
      <p:sp>
        <p:nvSpPr>
          <p:cNvPr id="18" name="Text Placeholder 3"/>
          <p:cNvSpPr txBox="1">
            <a:spLocks/>
          </p:cNvSpPr>
          <p:nvPr/>
        </p:nvSpPr>
        <p:spPr>
          <a:xfrm>
            <a:off x="1659052" y="5031883"/>
            <a:ext cx="4796987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axis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：設定或取得圖形座標軸範圍</a:t>
            </a:r>
          </a:p>
        </p:txBody>
      </p:sp>
      <p:sp>
        <p:nvSpPr>
          <p:cNvPr id="43" name="Text Placeholder 3"/>
          <p:cNvSpPr txBox="1">
            <a:spLocks/>
          </p:cNvSpPr>
          <p:nvPr/>
        </p:nvSpPr>
        <p:spPr>
          <a:xfrm>
            <a:off x="7588268" y="1839718"/>
            <a:ext cx="3791102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grid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：產生或關閉圖形的座標格線</a:t>
            </a:r>
          </a:p>
        </p:txBody>
      </p:sp>
      <p:sp>
        <p:nvSpPr>
          <p:cNvPr id="44" name="Text Placeholder 3"/>
          <p:cNvSpPr txBox="1">
            <a:spLocks/>
          </p:cNvSpPr>
          <p:nvPr/>
        </p:nvSpPr>
        <p:spPr>
          <a:xfrm>
            <a:off x="7588268" y="2464032"/>
            <a:ext cx="2109552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lang="en-US" altLang="zh-TW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legend</a:t>
            </a:r>
            <a:r>
              <a:rPr lang="zh-TW" altLang="en-US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：產生圖例</a:t>
            </a:r>
          </a:p>
        </p:txBody>
      </p:sp>
      <p:grpSp>
        <p:nvGrpSpPr>
          <p:cNvPr id="3" name="群組 2"/>
          <p:cNvGrpSpPr/>
          <p:nvPr/>
        </p:nvGrpSpPr>
        <p:grpSpPr>
          <a:xfrm>
            <a:off x="983432" y="2482077"/>
            <a:ext cx="504056" cy="407471"/>
            <a:chOff x="983432" y="2465210"/>
            <a:chExt cx="504056" cy="407471"/>
          </a:xfrm>
        </p:grpSpPr>
        <p:sp>
          <p:nvSpPr>
            <p:cNvPr id="11" name="Oval 77"/>
            <p:cNvSpPr>
              <a:spLocks noChangeArrowheads="1"/>
            </p:cNvSpPr>
            <p:nvPr/>
          </p:nvSpPr>
          <p:spPr bwMode="auto">
            <a:xfrm>
              <a:off x="983432" y="2465210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5" name="文字方塊 44"/>
            <p:cNvSpPr txBox="1"/>
            <p:nvPr/>
          </p:nvSpPr>
          <p:spPr>
            <a:xfrm>
              <a:off x="1127448" y="2564904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2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grpSp>
        <p:nvGrpSpPr>
          <p:cNvPr id="4" name="群組 3"/>
          <p:cNvGrpSpPr/>
          <p:nvPr/>
        </p:nvGrpSpPr>
        <p:grpSpPr>
          <a:xfrm>
            <a:off x="983432" y="3119330"/>
            <a:ext cx="486519" cy="404721"/>
            <a:chOff x="983432" y="3085596"/>
            <a:chExt cx="486519" cy="404721"/>
          </a:xfrm>
        </p:grpSpPr>
        <p:sp>
          <p:nvSpPr>
            <p:cNvPr id="12" name="Oval 77"/>
            <p:cNvSpPr>
              <a:spLocks noChangeArrowheads="1"/>
            </p:cNvSpPr>
            <p:nvPr/>
          </p:nvSpPr>
          <p:spPr bwMode="auto">
            <a:xfrm>
              <a:off x="983432" y="3085596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6" name="文字方塊 45"/>
            <p:cNvSpPr txBox="1"/>
            <p:nvPr/>
          </p:nvSpPr>
          <p:spPr>
            <a:xfrm>
              <a:off x="1109911" y="3182540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3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grpSp>
        <p:nvGrpSpPr>
          <p:cNvPr id="5" name="群組 4"/>
          <p:cNvGrpSpPr/>
          <p:nvPr/>
        </p:nvGrpSpPr>
        <p:grpSpPr>
          <a:xfrm>
            <a:off x="983432" y="3753833"/>
            <a:ext cx="486519" cy="401971"/>
            <a:chOff x="983432" y="3705982"/>
            <a:chExt cx="486519" cy="401971"/>
          </a:xfrm>
        </p:grpSpPr>
        <p:sp>
          <p:nvSpPr>
            <p:cNvPr id="14" name="Oval 77"/>
            <p:cNvSpPr>
              <a:spLocks noChangeArrowheads="1"/>
            </p:cNvSpPr>
            <p:nvPr/>
          </p:nvSpPr>
          <p:spPr bwMode="auto">
            <a:xfrm>
              <a:off x="983432" y="3705982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7" name="文字方塊 46"/>
            <p:cNvSpPr txBox="1"/>
            <p:nvPr/>
          </p:nvSpPr>
          <p:spPr>
            <a:xfrm>
              <a:off x="1109911" y="3800176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4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grpSp>
        <p:nvGrpSpPr>
          <p:cNvPr id="19" name="群組 18"/>
          <p:cNvGrpSpPr/>
          <p:nvPr/>
        </p:nvGrpSpPr>
        <p:grpSpPr>
          <a:xfrm>
            <a:off x="983432" y="4385586"/>
            <a:ext cx="486519" cy="410128"/>
            <a:chOff x="983432" y="4326368"/>
            <a:chExt cx="486519" cy="410128"/>
          </a:xfrm>
        </p:grpSpPr>
        <p:sp>
          <p:nvSpPr>
            <p:cNvPr id="16" name="Oval 77"/>
            <p:cNvSpPr>
              <a:spLocks noChangeArrowheads="1"/>
            </p:cNvSpPr>
            <p:nvPr/>
          </p:nvSpPr>
          <p:spPr bwMode="auto">
            <a:xfrm>
              <a:off x="983432" y="4326368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8" name="文字方塊 47"/>
            <p:cNvSpPr txBox="1"/>
            <p:nvPr/>
          </p:nvSpPr>
          <p:spPr>
            <a:xfrm>
              <a:off x="1109911" y="4428719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5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grpSp>
        <p:nvGrpSpPr>
          <p:cNvPr id="20" name="群組 19"/>
          <p:cNvGrpSpPr/>
          <p:nvPr/>
        </p:nvGrpSpPr>
        <p:grpSpPr>
          <a:xfrm>
            <a:off x="983432" y="5025496"/>
            <a:ext cx="486519" cy="400505"/>
            <a:chOff x="983432" y="4946754"/>
            <a:chExt cx="486519" cy="400505"/>
          </a:xfrm>
        </p:grpSpPr>
        <p:sp>
          <p:nvSpPr>
            <p:cNvPr id="17" name="Oval 77"/>
            <p:cNvSpPr>
              <a:spLocks noChangeArrowheads="1"/>
            </p:cNvSpPr>
            <p:nvPr/>
          </p:nvSpPr>
          <p:spPr bwMode="auto">
            <a:xfrm>
              <a:off x="983432" y="4946754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9" name="文字方塊 48"/>
            <p:cNvSpPr txBox="1"/>
            <p:nvPr/>
          </p:nvSpPr>
          <p:spPr>
            <a:xfrm>
              <a:off x="1109911" y="5039482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6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grpSp>
        <p:nvGrpSpPr>
          <p:cNvPr id="2" name="群組 1"/>
          <p:cNvGrpSpPr/>
          <p:nvPr/>
        </p:nvGrpSpPr>
        <p:grpSpPr>
          <a:xfrm>
            <a:off x="983432" y="1844824"/>
            <a:ext cx="488625" cy="407471"/>
            <a:chOff x="983432" y="1844824"/>
            <a:chExt cx="488625" cy="407471"/>
          </a:xfrm>
        </p:grpSpPr>
        <p:sp>
          <p:nvSpPr>
            <p:cNvPr id="10" name="Oval 77"/>
            <p:cNvSpPr>
              <a:spLocks noChangeArrowheads="1"/>
            </p:cNvSpPr>
            <p:nvPr/>
          </p:nvSpPr>
          <p:spPr bwMode="auto">
            <a:xfrm>
              <a:off x="983432" y="1844824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1" name="文字方塊 50"/>
            <p:cNvSpPr txBox="1"/>
            <p:nvPr/>
          </p:nvSpPr>
          <p:spPr>
            <a:xfrm>
              <a:off x="1112017" y="1944518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1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grpSp>
        <p:nvGrpSpPr>
          <p:cNvPr id="25" name="群組 24"/>
          <p:cNvGrpSpPr/>
          <p:nvPr/>
        </p:nvGrpSpPr>
        <p:grpSpPr>
          <a:xfrm>
            <a:off x="6912647" y="2465210"/>
            <a:ext cx="479544" cy="412181"/>
            <a:chOff x="6912647" y="2465210"/>
            <a:chExt cx="479544" cy="412181"/>
          </a:xfrm>
        </p:grpSpPr>
        <p:sp>
          <p:nvSpPr>
            <p:cNvPr id="24" name="Oval 77"/>
            <p:cNvSpPr>
              <a:spLocks noChangeArrowheads="1"/>
            </p:cNvSpPr>
            <p:nvPr/>
          </p:nvSpPr>
          <p:spPr bwMode="auto">
            <a:xfrm>
              <a:off x="6912647" y="2465210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0" tIns="45720" rIns="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2" name="文字方塊 51"/>
            <p:cNvSpPr txBox="1"/>
            <p:nvPr/>
          </p:nvSpPr>
          <p:spPr>
            <a:xfrm>
              <a:off x="7032151" y="2569614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9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grpSp>
        <p:nvGrpSpPr>
          <p:cNvPr id="22" name="群組 21"/>
          <p:cNvGrpSpPr/>
          <p:nvPr/>
        </p:nvGrpSpPr>
        <p:grpSpPr>
          <a:xfrm>
            <a:off x="6912647" y="1844824"/>
            <a:ext cx="464113" cy="412181"/>
            <a:chOff x="6912647" y="1844824"/>
            <a:chExt cx="464113" cy="412181"/>
          </a:xfrm>
        </p:grpSpPr>
        <p:sp>
          <p:nvSpPr>
            <p:cNvPr id="23" name="Oval 77"/>
            <p:cNvSpPr>
              <a:spLocks noChangeArrowheads="1"/>
            </p:cNvSpPr>
            <p:nvPr/>
          </p:nvSpPr>
          <p:spPr bwMode="auto">
            <a:xfrm>
              <a:off x="6912647" y="1844824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3" name="文字方塊 52"/>
            <p:cNvSpPr txBox="1"/>
            <p:nvPr/>
          </p:nvSpPr>
          <p:spPr>
            <a:xfrm>
              <a:off x="7016720" y="1949228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8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sp>
        <p:nvSpPr>
          <p:cNvPr id="31" name="Text Placeholder 3"/>
          <p:cNvSpPr txBox="1">
            <a:spLocks/>
          </p:cNvSpPr>
          <p:nvPr/>
        </p:nvSpPr>
        <p:spPr>
          <a:xfrm>
            <a:off x="1659052" y="5621759"/>
            <a:ext cx="4796987" cy="61555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kumimoji="0" lang="en-US" altLang="zh-TW" sz="2000" dirty="0" err="1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semilogx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/</a:t>
            </a:r>
            <a:r>
              <a:rPr kumimoji="0" lang="en-US" altLang="zh-TW" sz="2000" dirty="0" err="1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semilogy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：畫二維半對數座標 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X-Y 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關係圖（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X/Y 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軸為對數座標）</a:t>
            </a:r>
            <a:endParaRPr kumimoji="0" lang="zh-TW" altLang="zh-TW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grpSp>
        <p:nvGrpSpPr>
          <p:cNvPr id="21" name="群組 20"/>
          <p:cNvGrpSpPr/>
          <p:nvPr/>
        </p:nvGrpSpPr>
        <p:grpSpPr>
          <a:xfrm>
            <a:off x="983432" y="5655780"/>
            <a:ext cx="486519" cy="400505"/>
            <a:chOff x="983432" y="5655780"/>
            <a:chExt cx="486519" cy="400505"/>
          </a:xfrm>
        </p:grpSpPr>
        <p:sp>
          <p:nvSpPr>
            <p:cNvPr id="30" name="Oval 77"/>
            <p:cNvSpPr>
              <a:spLocks noChangeArrowheads="1"/>
            </p:cNvSpPr>
            <p:nvPr/>
          </p:nvSpPr>
          <p:spPr bwMode="auto">
            <a:xfrm>
              <a:off x="983432" y="5655780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文字方塊 31"/>
            <p:cNvSpPr txBox="1"/>
            <p:nvPr/>
          </p:nvSpPr>
          <p:spPr>
            <a:xfrm>
              <a:off x="1109911" y="5748508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7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sp>
        <p:nvSpPr>
          <p:cNvPr id="42" name="Text Placeholder 3"/>
          <p:cNvSpPr txBox="1">
            <a:spLocks/>
          </p:cNvSpPr>
          <p:nvPr/>
        </p:nvSpPr>
        <p:spPr>
          <a:xfrm>
            <a:off x="7588268" y="3116584"/>
            <a:ext cx="2505494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lang="en-US" altLang="zh-TW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title</a:t>
            </a:r>
            <a:r>
              <a:rPr lang="zh-TW" altLang="en-US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：標示圖形的標題</a:t>
            </a:r>
          </a:p>
        </p:txBody>
      </p:sp>
      <p:sp>
        <p:nvSpPr>
          <p:cNvPr id="50" name="Text Placeholder 3"/>
          <p:cNvSpPr txBox="1">
            <a:spLocks/>
          </p:cNvSpPr>
          <p:nvPr/>
        </p:nvSpPr>
        <p:spPr>
          <a:xfrm>
            <a:off x="7588268" y="3755017"/>
            <a:ext cx="3347070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lang="en-US" altLang="zh-TW" sz="2000" b="1" dirty="0" err="1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xlabel</a:t>
            </a:r>
            <a:r>
              <a:rPr lang="zh-TW" altLang="en-US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：標示 </a:t>
            </a:r>
            <a:r>
              <a:rPr lang="en-US" altLang="zh-TW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X </a:t>
            </a:r>
            <a:r>
              <a:rPr lang="zh-TW" altLang="en-US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軸的說明文字</a:t>
            </a:r>
          </a:p>
        </p:txBody>
      </p:sp>
      <p:sp>
        <p:nvSpPr>
          <p:cNvPr id="54" name="Text Placeholder 3"/>
          <p:cNvSpPr txBox="1">
            <a:spLocks/>
          </p:cNvSpPr>
          <p:nvPr/>
        </p:nvSpPr>
        <p:spPr>
          <a:xfrm>
            <a:off x="7588268" y="4393450"/>
            <a:ext cx="4724979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lang="en-US" altLang="zh-TW" sz="2000" b="1" dirty="0" err="1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ylabel</a:t>
            </a:r>
            <a:r>
              <a:rPr lang="zh-TW" altLang="en-US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：標示 </a:t>
            </a:r>
            <a:r>
              <a:rPr lang="en-US" altLang="zh-TW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Y </a:t>
            </a:r>
            <a:r>
              <a:rPr lang="zh-TW" altLang="en-US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軸的說明文字</a:t>
            </a:r>
          </a:p>
        </p:txBody>
      </p:sp>
      <p:sp>
        <p:nvSpPr>
          <p:cNvPr id="55" name="Text Placeholder 3"/>
          <p:cNvSpPr txBox="1">
            <a:spLocks/>
          </p:cNvSpPr>
          <p:nvPr/>
        </p:nvSpPr>
        <p:spPr>
          <a:xfrm>
            <a:off x="7588268" y="5031883"/>
            <a:ext cx="4796987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text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：在指定的位置標示文字</a:t>
            </a:r>
          </a:p>
        </p:txBody>
      </p:sp>
      <p:grpSp>
        <p:nvGrpSpPr>
          <p:cNvPr id="56" name="群組 55"/>
          <p:cNvGrpSpPr/>
          <p:nvPr/>
        </p:nvGrpSpPr>
        <p:grpSpPr>
          <a:xfrm>
            <a:off x="6912647" y="3119330"/>
            <a:ext cx="486519" cy="404721"/>
            <a:chOff x="983432" y="3085596"/>
            <a:chExt cx="486519" cy="404721"/>
          </a:xfrm>
        </p:grpSpPr>
        <p:sp>
          <p:nvSpPr>
            <p:cNvPr id="57" name="Oval 77"/>
            <p:cNvSpPr>
              <a:spLocks noChangeArrowheads="1"/>
            </p:cNvSpPr>
            <p:nvPr/>
          </p:nvSpPr>
          <p:spPr bwMode="auto">
            <a:xfrm>
              <a:off x="983432" y="3085596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8" name="文字方塊 57"/>
            <p:cNvSpPr txBox="1"/>
            <p:nvPr/>
          </p:nvSpPr>
          <p:spPr>
            <a:xfrm>
              <a:off x="1109911" y="3182540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10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grpSp>
        <p:nvGrpSpPr>
          <p:cNvPr id="59" name="群組 58"/>
          <p:cNvGrpSpPr/>
          <p:nvPr/>
        </p:nvGrpSpPr>
        <p:grpSpPr>
          <a:xfrm>
            <a:off x="6912647" y="3753833"/>
            <a:ext cx="486519" cy="401971"/>
            <a:chOff x="983432" y="3705982"/>
            <a:chExt cx="486519" cy="401971"/>
          </a:xfrm>
        </p:grpSpPr>
        <p:sp>
          <p:nvSpPr>
            <p:cNvPr id="60" name="Oval 77"/>
            <p:cNvSpPr>
              <a:spLocks noChangeArrowheads="1"/>
            </p:cNvSpPr>
            <p:nvPr/>
          </p:nvSpPr>
          <p:spPr bwMode="auto">
            <a:xfrm>
              <a:off x="983432" y="3705982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1" name="文字方塊 60"/>
            <p:cNvSpPr txBox="1"/>
            <p:nvPr/>
          </p:nvSpPr>
          <p:spPr>
            <a:xfrm>
              <a:off x="1109911" y="3800176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11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grpSp>
        <p:nvGrpSpPr>
          <p:cNvPr id="62" name="群組 61"/>
          <p:cNvGrpSpPr/>
          <p:nvPr/>
        </p:nvGrpSpPr>
        <p:grpSpPr>
          <a:xfrm>
            <a:off x="6912647" y="4385586"/>
            <a:ext cx="486519" cy="410128"/>
            <a:chOff x="983432" y="4326368"/>
            <a:chExt cx="486519" cy="410128"/>
          </a:xfrm>
        </p:grpSpPr>
        <p:sp>
          <p:nvSpPr>
            <p:cNvPr id="63" name="Oval 77"/>
            <p:cNvSpPr>
              <a:spLocks noChangeArrowheads="1"/>
            </p:cNvSpPr>
            <p:nvPr/>
          </p:nvSpPr>
          <p:spPr bwMode="auto">
            <a:xfrm>
              <a:off x="983432" y="4326368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4" name="文字方塊 63"/>
            <p:cNvSpPr txBox="1"/>
            <p:nvPr/>
          </p:nvSpPr>
          <p:spPr>
            <a:xfrm>
              <a:off x="1109911" y="4428719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12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grpSp>
        <p:nvGrpSpPr>
          <p:cNvPr id="65" name="群組 64"/>
          <p:cNvGrpSpPr/>
          <p:nvPr/>
        </p:nvGrpSpPr>
        <p:grpSpPr>
          <a:xfrm>
            <a:off x="6912647" y="5025496"/>
            <a:ext cx="486519" cy="400505"/>
            <a:chOff x="983432" y="4946754"/>
            <a:chExt cx="486519" cy="400505"/>
          </a:xfrm>
        </p:grpSpPr>
        <p:sp>
          <p:nvSpPr>
            <p:cNvPr id="66" name="Oval 77"/>
            <p:cNvSpPr>
              <a:spLocks noChangeArrowheads="1"/>
            </p:cNvSpPr>
            <p:nvPr/>
          </p:nvSpPr>
          <p:spPr bwMode="auto">
            <a:xfrm>
              <a:off x="983432" y="4946754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7" name="文字方塊 66"/>
            <p:cNvSpPr txBox="1"/>
            <p:nvPr/>
          </p:nvSpPr>
          <p:spPr>
            <a:xfrm>
              <a:off x="1109911" y="5039482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13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sp>
        <p:nvSpPr>
          <p:cNvPr id="68" name="Text Placeholder 3"/>
          <p:cNvSpPr txBox="1">
            <a:spLocks/>
          </p:cNvSpPr>
          <p:nvPr/>
        </p:nvSpPr>
        <p:spPr>
          <a:xfrm>
            <a:off x="7588268" y="5661248"/>
            <a:ext cx="4796987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gtext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：在滑鼠游標指定的位置標示文字</a:t>
            </a:r>
          </a:p>
        </p:txBody>
      </p:sp>
      <p:grpSp>
        <p:nvGrpSpPr>
          <p:cNvPr id="69" name="群組 68"/>
          <p:cNvGrpSpPr/>
          <p:nvPr/>
        </p:nvGrpSpPr>
        <p:grpSpPr>
          <a:xfrm>
            <a:off x="6912647" y="5655780"/>
            <a:ext cx="486519" cy="400505"/>
            <a:chOff x="983432" y="5655780"/>
            <a:chExt cx="486519" cy="400505"/>
          </a:xfrm>
        </p:grpSpPr>
        <p:sp>
          <p:nvSpPr>
            <p:cNvPr id="70" name="Oval 77"/>
            <p:cNvSpPr>
              <a:spLocks noChangeArrowheads="1"/>
            </p:cNvSpPr>
            <p:nvPr/>
          </p:nvSpPr>
          <p:spPr bwMode="auto">
            <a:xfrm>
              <a:off x="983432" y="5655780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1" name="文字方塊 70"/>
            <p:cNvSpPr txBox="1"/>
            <p:nvPr/>
          </p:nvSpPr>
          <p:spPr>
            <a:xfrm>
              <a:off x="1109911" y="5748508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14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  <p:sp>
        <p:nvSpPr>
          <p:cNvPr id="72" name="Text Placeholder 3"/>
          <p:cNvSpPr txBox="1">
            <a:spLocks/>
          </p:cNvSpPr>
          <p:nvPr/>
        </p:nvSpPr>
        <p:spPr>
          <a:xfrm>
            <a:off x="7588268" y="6308749"/>
            <a:ext cx="4796987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eaLnBrk="1" fontAlgn="auto" hangingPunct="1">
              <a:spcBef>
                <a:spcPts val="10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print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/>
                <a:ea typeface="微軟正黑體" panose="020B0604030504040204" pitchFamily="34" charset="-120"/>
              </a:rPr>
              <a:t>：列印圖形</a:t>
            </a:r>
          </a:p>
        </p:txBody>
      </p:sp>
      <p:grpSp>
        <p:nvGrpSpPr>
          <p:cNvPr id="73" name="群組 72"/>
          <p:cNvGrpSpPr/>
          <p:nvPr/>
        </p:nvGrpSpPr>
        <p:grpSpPr>
          <a:xfrm>
            <a:off x="6912647" y="6303281"/>
            <a:ext cx="486519" cy="400505"/>
            <a:chOff x="983432" y="5655780"/>
            <a:chExt cx="486519" cy="400505"/>
          </a:xfrm>
        </p:grpSpPr>
        <p:sp>
          <p:nvSpPr>
            <p:cNvPr id="74" name="Oval 77"/>
            <p:cNvSpPr>
              <a:spLocks noChangeArrowheads="1"/>
            </p:cNvSpPr>
            <p:nvPr/>
          </p:nvSpPr>
          <p:spPr bwMode="auto">
            <a:xfrm>
              <a:off x="983432" y="5655780"/>
              <a:ext cx="301630" cy="300921"/>
            </a:xfrm>
            <a:prstGeom prst="ellipse">
              <a:avLst/>
            </a:prstGeom>
            <a:solidFill>
              <a:srgbClr val="94B6D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5" name="文字方塊 74"/>
            <p:cNvSpPr txBox="1"/>
            <p:nvPr/>
          </p:nvSpPr>
          <p:spPr>
            <a:xfrm>
              <a:off x="1109911" y="5748508"/>
              <a:ext cx="360040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31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E457D"/>
                  </a:solidFill>
                  <a:effectLst/>
                  <a:uLnTx/>
                  <a:uFillTx/>
                  <a:latin typeface="Arial" panose="020B0604020202020204"/>
                  <a:ea typeface="微軟正黑體" panose="020B0604030504040204" pitchFamily="34" charset="-120"/>
                  <a:cs typeface="+mn-cs"/>
                </a:rPr>
                <a:t>15</a:t>
              </a:r>
              <a:endPara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3227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圖片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0800" y="2422800"/>
            <a:ext cx="4589112" cy="4140000"/>
          </a:xfrm>
          <a:prstGeom prst="rect">
            <a:avLst/>
          </a:prstGeom>
        </p:spPr>
      </p:pic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TW" altLang="en-US" dirty="0" smtClean="0"/>
              <a:t>繪圖指令</a:t>
            </a:r>
            <a:r>
              <a:rPr lang="en-US" altLang="zh-TW" dirty="0" smtClean="0"/>
              <a:t>plot</a:t>
            </a:r>
            <a:r>
              <a:rPr lang="zh-TW" altLang="en-US" dirty="0" smtClean="0"/>
              <a:t>用法</a:t>
            </a:r>
            <a:r>
              <a:rPr lang="en-US" altLang="zh-TW" dirty="0" smtClean="0"/>
              <a:t> (1/3)</a:t>
            </a:r>
            <a:endParaRPr lang="zh-TW" altLang="zh-TW" dirty="0"/>
          </a:p>
        </p:txBody>
      </p:sp>
      <p:sp>
        <p:nvSpPr>
          <p:cNvPr id="48131" name="投影片編號版面配置區 5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85000" lnSpcReduction="20000"/>
          </a:bodyPr>
          <a:lstStyle/>
          <a:p>
            <a:fld id="{B89D914F-295F-4C2E-8701-5119655D00EA}" type="slidenum">
              <a:rPr lang="zh-TW" altLang="en-US"/>
              <a:pPr/>
              <a:t>6</a:t>
            </a:fld>
            <a:endParaRPr lang="en-US" altLang="zh-TW"/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1659052" y="1839718"/>
            <a:ext cx="7677307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indent="-274320">
              <a:buSzPct val="58000"/>
              <a:defRPr/>
            </a:pPr>
            <a:r>
              <a:rPr lang="en-US" altLang="zh-TW" sz="2000" b="1" dirty="0" smtClean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plot(Y</a:t>
            </a:r>
            <a:r>
              <a:rPr lang="en-US" altLang="zh-TW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)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：將變數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Y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每一行的資料對其索引值做</a:t>
            </a:r>
            <a:r>
              <a:rPr lang="zh-TW" altLang="en-US" sz="2000" dirty="0" smtClean="0">
                <a:latin typeface="Arial" panose="020B0604020202020204" pitchFamily="34" charset="0"/>
                <a:ea typeface="微軟正黑體" panose="020B0604030504040204" pitchFamily="34" charset="-120"/>
              </a:rPr>
              <a:t>圖</a:t>
            </a:r>
            <a:endParaRPr lang="en-US" altLang="zh-TW" sz="2000" dirty="0"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0" name="Oval 77"/>
          <p:cNvSpPr>
            <a:spLocks noChangeArrowheads="1"/>
          </p:cNvSpPr>
          <p:nvPr/>
        </p:nvSpPr>
        <p:spPr bwMode="auto">
          <a:xfrm>
            <a:off x="983432" y="184482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/>
            <a:r>
              <a:rPr lang="zh-TW" altLang="en-US" sz="2000" dirty="0" smtClean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★</a:t>
            </a:r>
            <a:endParaRPr lang="en-US" sz="2000" dirty="0">
              <a:solidFill>
                <a:srgbClr val="0E457D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8" name="KSO_Shape"/>
          <p:cNvSpPr>
            <a:spLocks noChangeAspect="1"/>
          </p:cNvSpPr>
          <p:nvPr/>
        </p:nvSpPr>
        <p:spPr bwMode="auto">
          <a:xfrm rot="18286279">
            <a:off x="5084858" y="3862833"/>
            <a:ext cx="694278" cy="745200"/>
          </a:xfrm>
          <a:custGeom>
            <a:avLst/>
            <a:gdLst>
              <a:gd name="T0" fmla="*/ 847238989 w 3580"/>
              <a:gd name="T1" fmla="*/ 847586626 h 3841"/>
              <a:gd name="T2" fmla="*/ 847238989 w 3580"/>
              <a:gd name="T3" fmla="*/ 847586626 h 3841"/>
              <a:gd name="T4" fmla="*/ 847238989 w 3580"/>
              <a:gd name="T5" fmla="*/ 847586626 h 3841"/>
              <a:gd name="T6" fmla="*/ 847238989 w 3580"/>
              <a:gd name="T7" fmla="*/ 847586626 h 3841"/>
              <a:gd name="T8" fmla="*/ 847238989 w 3580"/>
              <a:gd name="T9" fmla="*/ 847586626 h 3841"/>
              <a:gd name="T10" fmla="*/ 847238989 w 3580"/>
              <a:gd name="T11" fmla="*/ 847586626 h 3841"/>
              <a:gd name="T12" fmla="*/ 847238989 w 3580"/>
              <a:gd name="T13" fmla="*/ 847586626 h 3841"/>
              <a:gd name="T14" fmla="*/ 847238989 w 3580"/>
              <a:gd name="T15" fmla="*/ 847586626 h 3841"/>
              <a:gd name="T16" fmla="*/ 847238989 w 3580"/>
              <a:gd name="T17" fmla="*/ 847586626 h 3841"/>
              <a:gd name="T18" fmla="*/ 847238989 w 3580"/>
              <a:gd name="T19" fmla="*/ 847586626 h 3841"/>
              <a:gd name="T20" fmla="*/ 847238989 w 3580"/>
              <a:gd name="T21" fmla="*/ 847586626 h 3841"/>
              <a:gd name="T22" fmla="*/ 847238989 w 3580"/>
              <a:gd name="T23" fmla="*/ 847586626 h 3841"/>
              <a:gd name="T24" fmla="*/ 847238989 w 3580"/>
              <a:gd name="T25" fmla="*/ 847586626 h 3841"/>
              <a:gd name="T26" fmla="*/ 847238989 w 3580"/>
              <a:gd name="T27" fmla="*/ 847586626 h 3841"/>
              <a:gd name="T28" fmla="*/ 847238989 w 3580"/>
              <a:gd name="T29" fmla="*/ 847586626 h 3841"/>
              <a:gd name="T30" fmla="*/ 847238989 w 3580"/>
              <a:gd name="T31" fmla="*/ 847586626 h 3841"/>
              <a:gd name="T32" fmla="*/ 847238989 w 3580"/>
              <a:gd name="T33" fmla="*/ 847586626 h 3841"/>
              <a:gd name="T34" fmla="*/ 847238989 w 3580"/>
              <a:gd name="T35" fmla="*/ 847586626 h 3841"/>
              <a:gd name="T36" fmla="*/ 847238989 w 3580"/>
              <a:gd name="T37" fmla="*/ 847586626 h 3841"/>
              <a:gd name="T38" fmla="*/ 847238989 w 3580"/>
              <a:gd name="T39" fmla="*/ 847586626 h 3841"/>
              <a:gd name="T40" fmla="*/ 847238989 w 3580"/>
              <a:gd name="T41" fmla="*/ 847586626 h 3841"/>
              <a:gd name="T42" fmla="*/ 847238989 w 3580"/>
              <a:gd name="T43" fmla="*/ 847586626 h 3841"/>
              <a:gd name="T44" fmla="*/ 847238989 w 3580"/>
              <a:gd name="T45" fmla="*/ 847586626 h 3841"/>
              <a:gd name="T46" fmla="*/ 847238989 w 3580"/>
              <a:gd name="T47" fmla="*/ 847586626 h 3841"/>
              <a:gd name="T48" fmla="*/ 847238989 w 3580"/>
              <a:gd name="T49" fmla="*/ 847586626 h 3841"/>
              <a:gd name="T50" fmla="*/ 847238989 w 3580"/>
              <a:gd name="T51" fmla="*/ 847586626 h 3841"/>
              <a:gd name="T52" fmla="*/ 847238989 w 3580"/>
              <a:gd name="T53" fmla="*/ 847586626 h 3841"/>
              <a:gd name="T54" fmla="*/ 847238989 w 3580"/>
              <a:gd name="T55" fmla="*/ 847586626 h 3841"/>
              <a:gd name="T56" fmla="*/ 847238989 w 3580"/>
              <a:gd name="T57" fmla="*/ 847586626 h 3841"/>
              <a:gd name="T58" fmla="*/ 847238989 w 3580"/>
              <a:gd name="T59" fmla="*/ 847586626 h 3841"/>
              <a:gd name="T60" fmla="*/ 847238989 w 3580"/>
              <a:gd name="T61" fmla="*/ 847586626 h 3841"/>
              <a:gd name="T62" fmla="*/ 847238989 w 3580"/>
              <a:gd name="T63" fmla="*/ 847586626 h 3841"/>
              <a:gd name="T64" fmla="*/ 847238989 w 3580"/>
              <a:gd name="T65" fmla="*/ 847586626 h 3841"/>
              <a:gd name="T66" fmla="*/ 847238989 w 3580"/>
              <a:gd name="T67" fmla="*/ 847586626 h 3841"/>
              <a:gd name="T68" fmla="*/ 847238989 w 3580"/>
              <a:gd name="T69" fmla="*/ 847586626 h 3841"/>
              <a:gd name="T70" fmla="*/ 847238989 w 3580"/>
              <a:gd name="T71" fmla="*/ 847586626 h 3841"/>
              <a:gd name="T72" fmla="*/ 847238989 w 3580"/>
              <a:gd name="T73" fmla="*/ 847586626 h 3841"/>
              <a:gd name="T74" fmla="*/ 847238989 w 3580"/>
              <a:gd name="T75" fmla="*/ 847586626 h 3841"/>
              <a:gd name="T76" fmla="*/ 847238989 w 3580"/>
              <a:gd name="T77" fmla="*/ 847586626 h 3841"/>
              <a:gd name="T78" fmla="*/ 847238989 w 3580"/>
              <a:gd name="T79" fmla="*/ 847586626 h 3841"/>
              <a:gd name="T80" fmla="*/ 847238989 w 3580"/>
              <a:gd name="T81" fmla="*/ 847586626 h 3841"/>
              <a:gd name="T82" fmla="*/ 847238989 w 3580"/>
              <a:gd name="T83" fmla="*/ 847586626 h 3841"/>
              <a:gd name="T84" fmla="*/ 847238989 w 3580"/>
              <a:gd name="T85" fmla="*/ 847586626 h 3841"/>
              <a:gd name="T86" fmla="*/ 847238989 w 3580"/>
              <a:gd name="T87" fmla="*/ 847586626 h 3841"/>
              <a:gd name="T88" fmla="*/ 847238989 w 3580"/>
              <a:gd name="T89" fmla="*/ 847586626 h 3841"/>
              <a:gd name="T90" fmla="*/ 847238989 w 3580"/>
              <a:gd name="T91" fmla="*/ 847586626 h 3841"/>
              <a:gd name="T92" fmla="*/ 847238989 w 3580"/>
              <a:gd name="T93" fmla="*/ 847586626 h 3841"/>
              <a:gd name="T94" fmla="*/ 847238989 w 3580"/>
              <a:gd name="T95" fmla="*/ 847586626 h 3841"/>
              <a:gd name="T96" fmla="*/ 847238989 w 3580"/>
              <a:gd name="T97" fmla="*/ 847586626 h 3841"/>
              <a:gd name="T98" fmla="*/ 847238989 w 3580"/>
              <a:gd name="T99" fmla="*/ 847586626 h 3841"/>
              <a:gd name="T100" fmla="*/ 847238989 w 3580"/>
              <a:gd name="T101" fmla="*/ 847586626 h 3841"/>
              <a:gd name="T102" fmla="*/ 847238989 w 3580"/>
              <a:gd name="T103" fmla="*/ 847586626 h 3841"/>
              <a:gd name="T104" fmla="*/ 847238989 w 3580"/>
              <a:gd name="T105" fmla="*/ 847586626 h 3841"/>
              <a:gd name="T106" fmla="*/ 847238989 w 3580"/>
              <a:gd name="T107" fmla="*/ 847586626 h 3841"/>
              <a:gd name="T108" fmla="*/ 847238989 w 3580"/>
              <a:gd name="T109" fmla="*/ 847586626 h 3841"/>
              <a:gd name="T110" fmla="*/ 847238989 w 3580"/>
              <a:gd name="T111" fmla="*/ 847586626 h 3841"/>
              <a:gd name="T112" fmla="*/ 847238989 w 3580"/>
              <a:gd name="T113" fmla="*/ 847586626 h 3841"/>
              <a:gd name="T114" fmla="*/ 847238989 w 3580"/>
              <a:gd name="T115" fmla="*/ 847586626 h 3841"/>
              <a:gd name="T116" fmla="*/ 847238989 w 3580"/>
              <a:gd name="T117" fmla="*/ 847586626 h 3841"/>
              <a:gd name="T118" fmla="*/ 847238989 w 3580"/>
              <a:gd name="T119" fmla="*/ 847586626 h 3841"/>
              <a:gd name="T120" fmla="*/ 847238989 w 3580"/>
              <a:gd name="T121" fmla="*/ 847586626 h 3841"/>
              <a:gd name="T122" fmla="*/ 847238989 w 3580"/>
              <a:gd name="T123" fmla="*/ 847586626 h 3841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580" h="3841">
                <a:moveTo>
                  <a:pt x="3580" y="2640"/>
                </a:moveTo>
                <a:lnTo>
                  <a:pt x="3491" y="1718"/>
                </a:lnTo>
                <a:lnTo>
                  <a:pt x="2890" y="2323"/>
                </a:lnTo>
                <a:lnTo>
                  <a:pt x="2881" y="2251"/>
                </a:lnTo>
                <a:lnTo>
                  <a:pt x="2871" y="2180"/>
                </a:lnTo>
                <a:lnTo>
                  <a:pt x="2859" y="2110"/>
                </a:lnTo>
                <a:lnTo>
                  <a:pt x="2846" y="2042"/>
                </a:lnTo>
                <a:lnTo>
                  <a:pt x="2831" y="1974"/>
                </a:lnTo>
                <a:lnTo>
                  <a:pt x="2816" y="1908"/>
                </a:lnTo>
                <a:lnTo>
                  <a:pt x="2799" y="1844"/>
                </a:lnTo>
                <a:lnTo>
                  <a:pt x="2782" y="1780"/>
                </a:lnTo>
                <a:lnTo>
                  <a:pt x="2762" y="1718"/>
                </a:lnTo>
                <a:lnTo>
                  <a:pt x="2742" y="1657"/>
                </a:lnTo>
                <a:lnTo>
                  <a:pt x="2719" y="1597"/>
                </a:lnTo>
                <a:lnTo>
                  <a:pt x="2697" y="1539"/>
                </a:lnTo>
                <a:lnTo>
                  <a:pt x="2672" y="1480"/>
                </a:lnTo>
                <a:lnTo>
                  <a:pt x="2647" y="1424"/>
                </a:lnTo>
                <a:lnTo>
                  <a:pt x="2620" y="1369"/>
                </a:lnTo>
                <a:lnTo>
                  <a:pt x="2592" y="1314"/>
                </a:lnTo>
                <a:lnTo>
                  <a:pt x="2564" y="1262"/>
                </a:lnTo>
                <a:lnTo>
                  <a:pt x="2533" y="1210"/>
                </a:lnTo>
                <a:lnTo>
                  <a:pt x="2501" y="1160"/>
                </a:lnTo>
                <a:lnTo>
                  <a:pt x="2469" y="1110"/>
                </a:lnTo>
                <a:lnTo>
                  <a:pt x="2435" y="1062"/>
                </a:lnTo>
                <a:lnTo>
                  <a:pt x="2401" y="1014"/>
                </a:lnTo>
                <a:lnTo>
                  <a:pt x="2365" y="968"/>
                </a:lnTo>
                <a:lnTo>
                  <a:pt x="2327" y="924"/>
                </a:lnTo>
                <a:lnTo>
                  <a:pt x="2289" y="880"/>
                </a:lnTo>
                <a:lnTo>
                  <a:pt x="2249" y="838"/>
                </a:lnTo>
                <a:lnTo>
                  <a:pt x="2209" y="797"/>
                </a:lnTo>
                <a:lnTo>
                  <a:pt x="2167" y="756"/>
                </a:lnTo>
                <a:lnTo>
                  <a:pt x="2124" y="717"/>
                </a:lnTo>
                <a:lnTo>
                  <a:pt x="2081" y="678"/>
                </a:lnTo>
                <a:lnTo>
                  <a:pt x="2036" y="641"/>
                </a:lnTo>
                <a:lnTo>
                  <a:pt x="1990" y="605"/>
                </a:lnTo>
                <a:lnTo>
                  <a:pt x="1942" y="570"/>
                </a:lnTo>
                <a:lnTo>
                  <a:pt x="1894" y="536"/>
                </a:lnTo>
                <a:lnTo>
                  <a:pt x="1845" y="504"/>
                </a:lnTo>
                <a:lnTo>
                  <a:pt x="1794" y="472"/>
                </a:lnTo>
                <a:lnTo>
                  <a:pt x="1743" y="442"/>
                </a:lnTo>
                <a:lnTo>
                  <a:pt x="1691" y="412"/>
                </a:lnTo>
                <a:lnTo>
                  <a:pt x="1637" y="383"/>
                </a:lnTo>
                <a:lnTo>
                  <a:pt x="1584" y="356"/>
                </a:lnTo>
                <a:lnTo>
                  <a:pt x="1528" y="330"/>
                </a:lnTo>
                <a:lnTo>
                  <a:pt x="1472" y="304"/>
                </a:lnTo>
                <a:lnTo>
                  <a:pt x="1415" y="280"/>
                </a:lnTo>
                <a:lnTo>
                  <a:pt x="1356" y="256"/>
                </a:lnTo>
                <a:lnTo>
                  <a:pt x="1298" y="234"/>
                </a:lnTo>
                <a:lnTo>
                  <a:pt x="1236" y="213"/>
                </a:lnTo>
                <a:lnTo>
                  <a:pt x="1175" y="193"/>
                </a:lnTo>
                <a:lnTo>
                  <a:pt x="1114" y="173"/>
                </a:lnTo>
                <a:lnTo>
                  <a:pt x="1051" y="155"/>
                </a:lnTo>
                <a:lnTo>
                  <a:pt x="987" y="138"/>
                </a:lnTo>
                <a:lnTo>
                  <a:pt x="923" y="122"/>
                </a:lnTo>
                <a:lnTo>
                  <a:pt x="857" y="107"/>
                </a:lnTo>
                <a:lnTo>
                  <a:pt x="790" y="92"/>
                </a:lnTo>
                <a:lnTo>
                  <a:pt x="722" y="78"/>
                </a:lnTo>
                <a:lnTo>
                  <a:pt x="654" y="67"/>
                </a:lnTo>
                <a:lnTo>
                  <a:pt x="584" y="56"/>
                </a:lnTo>
                <a:lnTo>
                  <a:pt x="514" y="45"/>
                </a:lnTo>
                <a:lnTo>
                  <a:pt x="443" y="36"/>
                </a:lnTo>
                <a:lnTo>
                  <a:pt x="371" y="27"/>
                </a:lnTo>
                <a:lnTo>
                  <a:pt x="299" y="20"/>
                </a:lnTo>
                <a:lnTo>
                  <a:pt x="226" y="14"/>
                </a:lnTo>
                <a:lnTo>
                  <a:pt x="151" y="7"/>
                </a:lnTo>
                <a:lnTo>
                  <a:pt x="76" y="4"/>
                </a:lnTo>
                <a:lnTo>
                  <a:pt x="0" y="0"/>
                </a:lnTo>
                <a:lnTo>
                  <a:pt x="99" y="58"/>
                </a:lnTo>
                <a:lnTo>
                  <a:pt x="194" y="118"/>
                </a:lnTo>
                <a:lnTo>
                  <a:pt x="288" y="180"/>
                </a:lnTo>
                <a:lnTo>
                  <a:pt x="377" y="243"/>
                </a:lnTo>
                <a:lnTo>
                  <a:pt x="466" y="305"/>
                </a:lnTo>
                <a:lnTo>
                  <a:pt x="550" y="370"/>
                </a:lnTo>
                <a:lnTo>
                  <a:pt x="633" y="434"/>
                </a:lnTo>
                <a:lnTo>
                  <a:pt x="712" y="502"/>
                </a:lnTo>
                <a:lnTo>
                  <a:pt x="788" y="569"/>
                </a:lnTo>
                <a:lnTo>
                  <a:pt x="862" y="636"/>
                </a:lnTo>
                <a:lnTo>
                  <a:pt x="933" y="706"/>
                </a:lnTo>
                <a:lnTo>
                  <a:pt x="1000" y="777"/>
                </a:lnTo>
                <a:lnTo>
                  <a:pt x="1065" y="848"/>
                </a:lnTo>
                <a:lnTo>
                  <a:pt x="1096" y="884"/>
                </a:lnTo>
                <a:lnTo>
                  <a:pt x="1126" y="920"/>
                </a:lnTo>
                <a:lnTo>
                  <a:pt x="1156" y="957"/>
                </a:lnTo>
                <a:lnTo>
                  <a:pt x="1184" y="993"/>
                </a:lnTo>
                <a:lnTo>
                  <a:pt x="1213" y="1031"/>
                </a:lnTo>
                <a:lnTo>
                  <a:pt x="1240" y="1068"/>
                </a:lnTo>
                <a:lnTo>
                  <a:pt x="1266" y="1105"/>
                </a:lnTo>
                <a:lnTo>
                  <a:pt x="1293" y="1144"/>
                </a:lnTo>
                <a:lnTo>
                  <a:pt x="1317" y="1181"/>
                </a:lnTo>
                <a:lnTo>
                  <a:pt x="1341" y="1220"/>
                </a:lnTo>
                <a:lnTo>
                  <a:pt x="1365" y="1258"/>
                </a:lnTo>
                <a:lnTo>
                  <a:pt x="1387" y="1298"/>
                </a:lnTo>
                <a:lnTo>
                  <a:pt x="1408" y="1337"/>
                </a:lnTo>
                <a:lnTo>
                  <a:pt x="1429" y="1377"/>
                </a:lnTo>
                <a:lnTo>
                  <a:pt x="1449" y="1417"/>
                </a:lnTo>
                <a:lnTo>
                  <a:pt x="1468" y="1456"/>
                </a:lnTo>
                <a:lnTo>
                  <a:pt x="1487" y="1496"/>
                </a:lnTo>
                <a:lnTo>
                  <a:pt x="1504" y="1537"/>
                </a:lnTo>
                <a:lnTo>
                  <a:pt x="1522" y="1577"/>
                </a:lnTo>
                <a:lnTo>
                  <a:pt x="1538" y="1618"/>
                </a:lnTo>
                <a:lnTo>
                  <a:pt x="1553" y="1659"/>
                </a:lnTo>
                <a:lnTo>
                  <a:pt x="1566" y="1702"/>
                </a:lnTo>
                <a:lnTo>
                  <a:pt x="1580" y="1743"/>
                </a:lnTo>
                <a:lnTo>
                  <a:pt x="1593" y="1785"/>
                </a:lnTo>
                <a:lnTo>
                  <a:pt x="1604" y="1827"/>
                </a:lnTo>
                <a:lnTo>
                  <a:pt x="1615" y="1870"/>
                </a:lnTo>
                <a:lnTo>
                  <a:pt x="1625" y="1913"/>
                </a:lnTo>
                <a:lnTo>
                  <a:pt x="1634" y="1956"/>
                </a:lnTo>
                <a:lnTo>
                  <a:pt x="1642" y="1999"/>
                </a:lnTo>
                <a:lnTo>
                  <a:pt x="1650" y="2043"/>
                </a:lnTo>
                <a:lnTo>
                  <a:pt x="1656" y="2088"/>
                </a:lnTo>
                <a:lnTo>
                  <a:pt x="1661" y="2131"/>
                </a:lnTo>
                <a:lnTo>
                  <a:pt x="1666" y="2176"/>
                </a:lnTo>
                <a:lnTo>
                  <a:pt x="1670" y="2221"/>
                </a:lnTo>
                <a:lnTo>
                  <a:pt x="1672" y="2266"/>
                </a:lnTo>
                <a:lnTo>
                  <a:pt x="1675" y="2310"/>
                </a:lnTo>
                <a:lnTo>
                  <a:pt x="1675" y="2357"/>
                </a:lnTo>
                <a:lnTo>
                  <a:pt x="1676" y="2401"/>
                </a:lnTo>
                <a:lnTo>
                  <a:pt x="1017" y="1953"/>
                </a:lnTo>
                <a:lnTo>
                  <a:pt x="1106" y="2876"/>
                </a:lnTo>
                <a:lnTo>
                  <a:pt x="2445" y="3841"/>
                </a:lnTo>
                <a:lnTo>
                  <a:pt x="3580" y="2640"/>
                </a:lnTo>
                <a:close/>
              </a:path>
            </a:pathLst>
          </a:custGeom>
          <a:solidFill>
            <a:srgbClr val="C00000"/>
          </a:solidFill>
          <a:ln w="38100">
            <a:solidFill>
              <a:schemeClr val="bg1"/>
            </a:solidFill>
          </a:ln>
          <a:extLst/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" name="內容版面配置區 1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endParaRPr lang="zh-TW" altLang="en-US" dirty="0"/>
          </a:p>
        </p:txBody>
      </p:sp>
      <p:pic>
        <p:nvPicPr>
          <p:cNvPr id="3" name="圖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5062" y="3343658"/>
            <a:ext cx="3819525" cy="15049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圖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1944" y="2420888"/>
            <a:ext cx="4589112" cy="4140000"/>
          </a:xfrm>
          <a:prstGeom prst="rect">
            <a:avLst/>
          </a:prstGeom>
        </p:spPr>
      </p:pic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TW" altLang="en-US" dirty="0"/>
              <a:t>繪圖指令</a:t>
            </a:r>
            <a:r>
              <a:rPr lang="en-US" altLang="zh-TW" dirty="0"/>
              <a:t>plot</a:t>
            </a:r>
            <a:r>
              <a:rPr lang="zh-TW" altLang="en-US" dirty="0" smtClean="0"/>
              <a:t>用法 </a:t>
            </a:r>
            <a:r>
              <a:rPr lang="en-US" altLang="zh-TW" dirty="0" smtClean="0"/>
              <a:t>(2/3</a:t>
            </a:r>
            <a:r>
              <a:rPr lang="en-US" altLang="zh-TW" dirty="0"/>
              <a:t>)</a:t>
            </a:r>
            <a:endParaRPr lang="zh-TW" altLang="zh-TW" dirty="0"/>
          </a:p>
        </p:txBody>
      </p:sp>
      <p:sp>
        <p:nvSpPr>
          <p:cNvPr id="48131" name="投影片編號版面配置區 5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85000" lnSpcReduction="20000"/>
          </a:bodyPr>
          <a:lstStyle/>
          <a:p>
            <a:fld id="{B89D914F-295F-4C2E-8701-5119655D00EA}" type="slidenum">
              <a:rPr lang="zh-TW" altLang="en-US"/>
              <a:pPr/>
              <a:t>7</a:t>
            </a:fld>
            <a:endParaRPr lang="en-US" altLang="zh-TW"/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1659052" y="1839718"/>
            <a:ext cx="7677307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indent="-274320">
              <a:buSzPct val="58000"/>
              <a:defRPr/>
            </a:pPr>
            <a:r>
              <a:rPr lang="en-US" altLang="zh-TW" sz="2000" b="1" dirty="0" smtClean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plot(X,Y</a:t>
            </a:r>
            <a:r>
              <a:rPr lang="en-US" altLang="zh-TW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, format)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：將向量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Y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對向量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X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做</a:t>
            </a:r>
            <a:r>
              <a:rPr lang="zh-TW" altLang="en-US" sz="2000" dirty="0" smtClean="0">
                <a:latin typeface="Arial" panose="020B0604020202020204" pitchFamily="34" charset="0"/>
                <a:ea typeface="微軟正黑體" panose="020B0604030504040204" pitchFamily="34" charset="-120"/>
              </a:rPr>
              <a:t>圖</a:t>
            </a:r>
            <a:endParaRPr lang="zh-TW" altLang="en-US" sz="2000" dirty="0"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0" name="Oval 77"/>
          <p:cNvSpPr>
            <a:spLocks noChangeArrowheads="1"/>
          </p:cNvSpPr>
          <p:nvPr/>
        </p:nvSpPr>
        <p:spPr bwMode="auto">
          <a:xfrm>
            <a:off x="983432" y="184482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/>
            <a:r>
              <a:rPr lang="zh-TW" altLang="en-US" sz="2000" dirty="0" smtClean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★</a:t>
            </a:r>
            <a:endParaRPr lang="en-US" sz="2000" dirty="0">
              <a:solidFill>
                <a:srgbClr val="0E457D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1" name="向下箭號 3"/>
          <p:cNvSpPr/>
          <p:nvPr/>
        </p:nvSpPr>
        <p:spPr>
          <a:xfrm rot="1059352">
            <a:off x="3001896" y="4765170"/>
            <a:ext cx="271336" cy="587136"/>
          </a:xfrm>
          <a:custGeom>
            <a:avLst/>
            <a:gdLst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103838 w 415352"/>
              <a:gd name="connsiteY2" fmla="*/ 0 h 864096"/>
              <a:gd name="connsiteX3" fmla="*/ 311514 w 415352"/>
              <a:gd name="connsiteY3" fmla="*/ 0 h 864096"/>
              <a:gd name="connsiteX4" fmla="*/ 311514 w 415352"/>
              <a:gd name="connsiteY4" fmla="*/ 551643 h 864096"/>
              <a:gd name="connsiteX5" fmla="*/ 415352 w 415352"/>
              <a:gd name="connsiteY5" fmla="*/ 551643 h 864096"/>
              <a:gd name="connsiteX6" fmla="*/ 207676 w 415352"/>
              <a:gd name="connsiteY6" fmla="*/ 864096 h 864096"/>
              <a:gd name="connsiteX7" fmla="*/ 0 w 415352"/>
              <a:gd name="connsiteY7" fmla="*/ 551643 h 864096"/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311514 w 415352"/>
              <a:gd name="connsiteY2" fmla="*/ 0 h 864096"/>
              <a:gd name="connsiteX3" fmla="*/ 311514 w 415352"/>
              <a:gd name="connsiteY3" fmla="*/ 551643 h 864096"/>
              <a:gd name="connsiteX4" fmla="*/ 415352 w 415352"/>
              <a:gd name="connsiteY4" fmla="*/ 551643 h 864096"/>
              <a:gd name="connsiteX5" fmla="*/ 207676 w 415352"/>
              <a:gd name="connsiteY5" fmla="*/ 864096 h 864096"/>
              <a:gd name="connsiteX6" fmla="*/ 0 w 415352"/>
              <a:gd name="connsiteY6" fmla="*/ 551643 h 864096"/>
              <a:gd name="connsiteX0" fmla="*/ 0 w 415352"/>
              <a:gd name="connsiteY0" fmla="*/ 570693 h 883146"/>
              <a:gd name="connsiteX1" fmla="*/ 103838 w 415352"/>
              <a:gd name="connsiteY1" fmla="*/ 570693 h 883146"/>
              <a:gd name="connsiteX2" fmla="*/ 216264 w 415352"/>
              <a:gd name="connsiteY2" fmla="*/ 0 h 883146"/>
              <a:gd name="connsiteX3" fmla="*/ 311514 w 415352"/>
              <a:gd name="connsiteY3" fmla="*/ 570693 h 883146"/>
              <a:gd name="connsiteX4" fmla="*/ 415352 w 415352"/>
              <a:gd name="connsiteY4" fmla="*/ 570693 h 883146"/>
              <a:gd name="connsiteX5" fmla="*/ 207676 w 415352"/>
              <a:gd name="connsiteY5" fmla="*/ 883146 h 883146"/>
              <a:gd name="connsiteX6" fmla="*/ 0 w 415352"/>
              <a:gd name="connsiteY6" fmla="*/ 570693 h 88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5352" h="883146">
                <a:moveTo>
                  <a:pt x="0" y="570693"/>
                </a:moveTo>
                <a:lnTo>
                  <a:pt x="103838" y="570693"/>
                </a:lnTo>
                <a:lnTo>
                  <a:pt x="216264" y="0"/>
                </a:lnTo>
                <a:lnTo>
                  <a:pt x="311514" y="570693"/>
                </a:lnTo>
                <a:lnTo>
                  <a:pt x="415352" y="570693"/>
                </a:lnTo>
                <a:lnTo>
                  <a:pt x="207676" y="883146"/>
                </a:lnTo>
                <a:lnTo>
                  <a:pt x="0" y="570693"/>
                </a:lnTo>
                <a:close/>
              </a:path>
            </a:pathLst>
          </a:cu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3" name="Text Box 7"/>
          <p:cNvSpPr txBox="1">
            <a:spLocks noChangeArrowheads="1"/>
          </p:cNvSpPr>
          <p:nvPr/>
        </p:nvSpPr>
        <p:spPr bwMode="auto">
          <a:xfrm>
            <a:off x="1450413" y="5273488"/>
            <a:ext cx="3693894" cy="461665"/>
          </a:xfrm>
          <a:prstGeom prst="rect">
            <a:avLst/>
          </a:prstGeom>
          <a:solidFill>
            <a:schemeClr val="bg1"/>
          </a:solidFill>
          <a:ln w="12700" cap="sq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ctr"/>
            <a:r>
              <a:rPr lang="en-US" altLang="zh-TW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color</a:t>
            </a:r>
            <a:r>
              <a:rPr lang="en-US" altLang="zh-TW" b="1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  </a:t>
            </a:r>
            <a:r>
              <a:rPr lang="en-US" altLang="zh-TW" b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marker</a:t>
            </a:r>
            <a:r>
              <a:rPr lang="en-US" altLang="zh-TW" b="1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  </a:t>
            </a:r>
            <a:r>
              <a:rPr lang="en-US" altLang="zh-TW" b="1" dirty="0">
                <a:solidFill>
                  <a:srgbClr val="CE4C4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line-type</a:t>
            </a:r>
          </a:p>
        </p:txBody>
      </p:sp>
      <p:sp>
        <p:nvSpPr>
          <p:cNvPr id="14" name="向下箭號 3"/>
          <p:cNvSpPr/>
          <p:nvPr/>
        </p:nvSpPr>
        <p:spPr>
          <a:xfrm rot="3185605">
            <a:off x="2300334" y="4733662"/>
            <a:ext cx="271336" cy="587136"/>
          </a:xfrm>
          <a:custGeom>
            <a:avLst/>
            <a:gdLst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103838 w 415352"/>
              <a:gd name="connsiteY2" fmla="*/ 0 h 864096"/>
              <a:gd name="connsiteX3" fmla="*/ 311514 w 415352"/>
              <a:gd name="connsiteY3" fmla="*/ 0 h 864096"/>
              <a:gd name="connsiteX4" fmla="*/ 311514 w 415352"/>
              <a:gd name="connsiteY4" fmla="*/ 551643 h 864096"/>
              <a:gd name="connsiteX5" fmla="*/ 415352 w 415352"/>
              <a:gd name="connsiteY5" fmla="*/ 551643 h 864096"/>
              <a:gd name="connsiteX6" fmla="*/ 207676 w 415352"/>
              <a:gd name="connsiteY6" fmla="*/ 864096 h 864096"/>
              <a:gd name="connsiteX7" fmla="*/ 0 w 415352"/>
              <a:gd name="connsiteY7" fmla="*/ 551643 h 864096"/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311514 w 415352"/>
              <a:gd name="connsiteY2" fmla="*/ 0 h 864096"/>
              <a:gd name="connsiteX3" fmla="*/ 311514 w 415352"/>
              <a:gd name="connsiteY3" fmla="*/ 551643 h 864096"/>
              <a:gd name="connsiteX4" fmla="*/ 415352 w 415352"/>
              <a:gd name="connsiteY4" fmla="*/ 551643 h 864096"/>
              <a:gd name="connsiteX5" fmla="*/ 207676 w 415352"/>
              <a:gd name="connsiteY5" fmla="*/ 864096 h 864096"/>
              <a:gd name="connsiteX6" fmla="*/ 0 w 415352"/>
              <a:gd name="connsiteY6" fmla="*/ 551643 h 864096"/>
              <a:gd name="connsiteX0" fmla="*/ 0 w 415352"/>
              <a:gd name="connsiteY0" fmla="*/ 570693 h 883146"/>
              <a:gd name="connsiteX1" fmla="*/ 103838 w 415352"/>
              <a:gd name="connsiteY1" fmla="*/ 570693 h 883146"/>
              <a:gd name="connsiteX2" fmla="*/ 216264 w 415352"/>
              <a:gd name="connsiteY2" fmla="*/ 0 h 883146"/>
              <a:gd name="connsiteX3" fmla="*/ 311514 w 415352"/>
              <a:gd name="connsiteY3" fmla="*/ 570693 h 883146"/>
              <a:gd name="connsiteX4" fmla="*/ 415352 w 415352"/>
              <a:gd name="connsiteY4" fmla="*/ 570693 h 883146"/>
              <a:gd name="connsiteX5" fmla="*/ 207676 w 415352"/>
              <a:gd name="connsiteY5" fmla="*/ 883146 h 883146"/>
              <a:gd name="connsiteX6" fmla="*/ 0 w 415352"/>
              <a:gd name="connsiteY6" fmla="*/ 570693 h 88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5352" h="883146">
                <a:moveTo>
                  <a:pt x="0" y="570693"/>
                </a:moveTo>
                <a:lnTo>
                  <a:pt x="103838" y="570693"/>
                </a:lnTo>
                <a:lnTo>
                  <a:pt x="216264" y="0"/>
                </a:lnTo>
                <a:lnTo>
                  <a:pt x="311514" y="570693"/>
                </a:lnTo>
                <a:lnTo>
                  <a:pt x="415352" y="570693"/>
                </a:lnTo>
                <a:lnTo>
                  <a:pt x="207676" y="883146"/>
                </a:lnTo>
                <a:lnTo>
                  <a:pt x="0" y="570693"/>
                </a:lnTo>
                <a:close/>
              </a:path>
            </a:pathLst>
          </a:cu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5" name="向下箭號 3"/>
          <p:cNvSpPr/>
          <p:nvPr/>
        </p:nvSpPr>
        <p:spPr>
          <a:xfrm rot="19581639">
            <a:off x="3979033" y="4768452"/>
            <a:ext cx="271336" cy="587136"/>
          </a:xfrm>
          <a:custGeom>
            <a:avLst/>
            <a:gdLst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103838 w 415352"/>
              <a:gd name="connsiteY2" fmla="*/ 0 h 864096"/>
              <a:gd name="connsiteX3" fmla="*/ 311514 w 415352"/>
              <a:gd name="connsiteY3" fmla="*/ 0 h 864096"/>
              <a:gd name="connsiteX4" fmla="*/ 311514 w 415352"/>
              <a:gd name="connsiteY4" fmla="*/ 551643 h 864096"/>
              <a:gd name="connsiteX5" fmla="*/ 415352 w 415352"/>
              <a:gd name="connsiteY5" fmla="*/ 551643 h 864096"/>
              <a:gd name="connsiteX6" fmla="*/ 207676 w 415352"/>
              <a:gd name="connsiteY6" fmla="*/ 864096 h 864096"/>
              <a:gd name="connsiteX7" fmla="*/ 0 w 415352"/>
              <a:gd name="connsiteY7" fmla="*/ 551643 h 864096"/>
              <a:gd name="connsiteX0" fmla="*/ 0 w 415352"/>
              <a:gd name="connsiteY0" fmla="*/ 551643 h 864096"/>
              <a:gd name="connsiteX1" fmla="*/ 103838 w 415352"/>
              <a:gd name="connsiteY1" fmla="*/ 551643 h 864096"/>
              <a:gd name="connsiteX2" fmla="*/ 311514 w 415352"/>
              <a:gd name="connsiteY2" fmla="*/ 0 h 864096"/>
              <a:gd name="connsiteX3" fmla="*/ 311514 w 415352"/>
              <a:gd name="connsiteY3" fmla="*/ 551643 h 864096"/>
              <a:gd name="connsiteX4" fmla="*/ 415352 w 415352"/>
              <a:gd name="connsiteY4" fmla="*/ 551643 h 864096"/>
              <a:gd name="connsiteX5" fmla="*/ 207676 w 415352"/>
              <a:gd name="connsiteY5" fmla="*/ 864096 h 864096"/>
              <a:gd name="connsiteX6" fmla="*/ 0 w 415352"/>
              <a:gd name="connsiteY6" fmla="*/ 551643 h 864096"/>
              <a:gd name="connsiteX0" fmla="*/ 0 w 415352"/>
              <a:gd name="connsiteY0" fmla="*/ 570693 h 883146"/>
              <a:gd name="connsiteX1" fmla="*/ 103838 w 415352"/>
              <a:gd name="connsiteY1" fmla="*/ 570693 h 883146"/>
              <a:gd name="connsiteX2" fmla="*/ 216264 w 415352"/>
              <a:gd name="connsiteY2" fmla="*/ 0 h 883146"/>
              <a:gd name="connsiteX3" fmla="*/ 311514 w 415352"/>
              <a:gd name="connsiteY3" fmla="*/ 570693 h 883146"/>
              <a:gd name="connsiteX4" fmla="*/ 415352 w 415352"/>
              <a:gd name="connsiteY4" fmla="*/ 570693 h 883146"/>
              <a:gd name="connsiteX5" fmla="*/ 207676 w 415352"/>
              <a:gd name="connsiteY5" fmla="*/ 883146 h 883146"/>
              <a:gd name="connsiteX6" fmla="*/ 0 w 415352"/>
              <a:gd name="connsiteY6" fmla="*/ 570693 h 88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5352" h="883146">
                <a:moveTo>
                  <a:pt x="0" y="570693"/>
                </a:moveTo>
                <a:lnTo>
                  <a:pt x="103838" y="570693"/>
                </a:lnTo>
                <a:lnTo>
                  <a:pt x="216264" y="0"/>
                </a:lnTo>
                <a:lnTo>
                  <a:pt x="311514" y="570693"/>
                </a:lnTo>
                <a:lnTo>
                  <a:pt x="415352" y="570693"/>
                </a:lnTo>
                <a:lnTo>
                  <a:pt x="207676" y="883146"/>
                </a:lnTo>
                <a:lnTo>
                  <a:pt x="0" y="570693"/>
                </a:lnTo>
                <a:close/>
              </a:path>
            </a:pathLst>
          </a:cu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7" name="KSO_Shape"/>
          <p:cNvSpPr>
            <a:spLocks noChangeAspect="1"/>
          </p:cNvSpPr>
          <p:nvPr/>
        </p:nvSpPr>
        <p:spPr bwMode="auto">
          <a:xfrm rot="18286279">
            <a:off x="5084858" y="3862833"/>
            <a:ext cx="694278" cy="745200"/>
          </a:xfrm>
          <a:custGeom>
            <a:avLst/>
            <a:gdLst>
              <a:gd name="T0" fmla="*/ 847238989 w 3580"/>
              <a:gd name="T1" fmla="*/ 847586626 h 3841"/>
              <a:gd name="T2" fmla="*/ 847238989 w 3580"/>
              <a:gd name="T3" fmla="*/ 847586626 h 3841"/>
              <a:gd name="T4" fmla="*/ 847238989 w 3580"/>
              <a:gd name="T5" fmla="*/ 847586626 h 3841"/>
              <a:gd name="T6" fmla="*/ 847238989 w 3580"/>
              <a:gd name="T7" fmla="*/ 847586626 h 3841"/>
              <a:gd name="T8" fmla="*/ 847238989 w 3580"/>
              <a:gd name="T9" fmla="*/ 847586626 h 3841"/>
              <a:gd name="T10" fmla="*/ 847238989 w 3580"/>
              <a:gd name="T11" fmla="*/ 847586626 h 3841"/>
              <a:gd name="T12" fmla="*/ 847238989 w 3580"/>
              <a:gd name="T13" fmla="*/ 847586626 h 3841"/>
              <a:gd name="T14" fmla="*/ 847238989 w 3580"/>
              <a:gd name="T15" fmla="*/ 847586626 h 3841"/>
              <a:gd name="T16" fmla="*/ 847238989 w 3580"/>
              <a:gd name="T17" fmla="*/ 847586626 h 3841"/>
              <a:gd name="T18" fmla="*/ 847238989 w 3580"/>
              <a:gd name="T19" fmla="*/ 847586626 h 3841"/>
              <a:gd name="T20" fmla="*/ 847238989 w 3580"/>
              <a:gd name="T21" fmla="*/ 847586626 h 3841"/>
              <a:gd name="T22" fmla="*/ 847238989 w 3580"/>
              <a:gd name="T23" fmla="*/ 847586626 h 3841"/>
              <a:gd name="T24" fmla="*/ 847238989 w 3580"/>
              <a:gd name="T25" fmla="*/ 847586626 h 3841"/>
              <a:gd name="T26" fmla="*/ 847238989 w 3580"/>
              <a:gd name="T27" fmla="*/ 847586626 h 3841"/>
              <a:gd name="T28" fmla="*/ 847238989 w 3580"/>
              <a:gd name="T29" fmla="*/ 847586626 h 3841"/>
              <a:gd name="T30" fmla="*/ 847238989 w 3580"/>
              <a:gd name="T31" fmla="*/ 847586626 h 3841"/>
              <a:gd name="T32" fmla="*/ 847238989 w 3580"/>
              <a:gd name="T33" fmla="*/ 847586626 h 3841"/>
              <a:gd name="T34" fmla="*/ 847238989 w 3580"/>
              <a:gd name="T35" fmla="*/ 847586626 h 3841"/>
              <a:gd name="T36" fmla="*/ 847238989 w 3580"/>
              <a:gd name="T37" fmla="*/ 847586626 h 3841"/>
              <a:gd name="T38" fmla="*/ 847238989 w 3580"/>
              <a:gd name="T39" fmla="*/ 847586626 h 3841"/>
              <a:gd name="T40" fmla="*/ 847238989 w 3580"/>
              <a:gd name="T41" fmla="*/ 847586626 h 3841"/>
              <a:gd name="T42" fmla="*/ 847238989 w 3580"/>
              <a:gd name="T43" fmla="*/ 847586626 h 3841"/>
              <a:gd name="T44" fmla="*/ 847238989 w 3580"/>
              <a:gd name="T45" fmla="*/ 847586626 h 3841"/>
              <a:gd name="T46" fmla="*/ 847238989 w 3580"/>
              <a:gd name="T47" fmla="*/ 847586626 h 3841"/>
              <a:gd name="T48" fmla="*/ 847238989 w 3580"/>
              <a:gd name="T49" fmla="*/ 847586626 h 3841"/>
              <a:gd name="T50" fmla="*/ 847238989 w 3580"/>
              <a:gd name="T51" fmla="*/ 847586626 h 3841"/>
              <a:gd name="T52" fmla="*/ 847238989 w 3580"/>
              <a:gd name="T53" fmla="*/ 847586626 h 3841"/>
              <a:gd name="T54" fmla="*/ 847238989 w 3580"/>
              <a:gd name="T55" fmla="*/ 847586626 h 3841"/>
              <a:gd name="T56" fmla="*/ 847238989 w 3580"/>
              <a:gd name="T57" fmla="*/ 847586626 h 3841"/>
              <a:gd name="T58" fmla="*/ 847238989 w 3580"/>
              <a:gd name="T59" fmla="*/ 847586626 h 3841"/>
              <a:gd name="T60" fmla="*/ 847238989 w 3580"/>
              <a:gd name="T61" fmla="*/ 847586626 h 3841"/>
              <a:gd name="T62" fmla="*/ 847238989 w 3580"/>
              <a:gd name="T63" fmla="*/ 847586626 h 3841"/>
              <a:gd name="T64" fmla="*/ 847238989 w 3580"/>
              <a:gd name="T65" fmla="*/ 847586626 h 3841"/>
              <a:gd name="T66" fmla="*/ 847238989 w 3580"/>
              <a:gd name="T67" fmla="*/ 847586626 h 3841"/>
              <a:gd name="T68" fmla="*/ 847238989 w 3580"/>
              <a:gd name="T69" fmla="*/ 847586626 h 3841"/>
              <a:gd name="T70" fmla="*/ 847238989 w 3580"/>
              <a:gd name="T71" fmla="*/ 847586626 h 3841"/>
              <a:gd name="T72" fmla="*/ 847238989 w 3580"/>
              <a:gd name="T73" fmla="*/ 847586626 h 3841"/>
              <a:gd name="T74" fmla="*/ 847238989 w 3580"/>
              <a:gd name="T75" fmla="*/ 847586626 h 3841"/>
              <a:gd name="T76" fmla="*/ 847238989 w 3580"/>
              <a:gd name="T77" fmla="*/ 847586626 h 3841"/>
              <a:gd name="T78" fmla="*/ 847238989 w 3580"/>
              <a:gd name="T79" fmla="*/ 847586626 h 3841"/>
              <a:gd name="T80" fmla="*/ 847238989 w 3580"/>
              <a:gd name="T81" fmla="*/ 847586626 h 3841"/>
              <a:gd name="T82" fmla="*/ 847238989 w 3580"/>
              <a:gd name="T83" fmla="*/ 847586626 h 3841"/>
              <a:gd name="T84" fmla="*/ 847238989 w 3580"/>
              <a:gd name="T85" fmla="*/ 847586626 h 3841"/>
              <a:gd name="T86" fmla="*/ 847238989 w 3580"/>
              <a:gd name="T87" fmla="*/ 847586626 h 3841"/>
              <a:gd name="T88" fmla="*/ 847238989 w 3580"/>
              <a:gd name="T89" fmla="*/ 847586626 h 3841"/>
              <a:gd name="T90" fmla="*/ 847238989 w 3580"/>
              <a:gd name="T91" fmla="*/ 847586626 h 3841"/>
              <a:gd name="T92" fmla="*/ 847238989 w 3580"/>
              <a:gd name="T93" fmla="*/ 847586626 h 3841"/>
              <a:gd name="T94" fmla="*/ 847238989 w 3580"/>
              <a:gd name="T95" fmla="*/ 847586626 h 3841"/>
              <a:gd name="T96" fmla="*/ 847238989 w 3580"/>
              <a:gd name="T97" fmla="*/ 847586626 h 3841"/>
              <a:gd name="T98" fmla="*/ 847238989 w 3580"/>
              <a:gd name="T99" fmla="*/ 847586626 h 3841"/>
              <a:gd name="T100" fmla="*/ 847238989 w 3580"/>
              <a:gd name="T101" fmla="*/ 847586626 h 3841"/>
              <a:gd name="T102" fmla="*/ 847238989 w 3580"/>
              <a:gd name="T103" fmla="*/ 847586626 h 3841"/>
              <a:gd name="T104" fmla="*/ 847238989 w 3580"/>
              <a:gd name="T105" fmla="*/ 847586626 h 3841"/>
              <a:gd name="T106" fmla="*/ 847238989 w 3580"/>
              <a:gd name="T107" fmla="*/ 847586626 h 3841"/>
              <a:gd name="T108" fmla="*/ 847238989 w 3580"/>
              <a:gd name="T109" fmla="*/ 847586626 h 3841"/>
              <a:gd name="T110" fmla="*/ 847238989 w 3580"/>
              <a:gd name="T111" fmla="*/ 847586626 h 3841"/>
              <a:gd name="T112" fmla="*/ 847238989 w 3580"/>
              <a:gd name="T113" fmla="*/ 847586626 h 3841"/>
              <a:gd name="T114" fmla="*/ 847238989 w 3580"/>
              <a:gd name="T115" fmla="*/ 847586626 h 3841"/>
              <a:gd name="T116" fmla="*/ 847238989 w 3580"/>
              <a:gd name="T117" fmla="*/ 847586626 h 3841"/>
              <a:gd name="T118" fmla="*/ 847238989 w 3580"/>
              <a:gd name="T119" fmla="*/ 847586626 h 3841"/>
              <a:gd name="T120" fmla="*/ 847238989 w 3580"/>
              <a:gd name="T121" fmla="*/ 847586626 h 3841"/>
              <a:gd name="T122" fmla="*/ 847238989 w 3580"/>
              <a:gd name="T123" fmla="*/ 847586626 h 3841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580" h="3841">
                <a:moveTo>
                  <a:pt x="3580" y="2640"/>
                </a:moveTo>
                <a:lnTo>
                  <a:pt x="3491" y="1718"/>
                </a:lnTo>
                <a:lnTo>
                  <a:pt x="2890" y="2323"/>
                </a:lnTo>
                <a:lnTo>
                  <a:pt x="2881" y="2251"/>
                </a:lnTo>
                <a:lnTo>
                  <a:pt x="2871" y="2180"/>
                </a:lnTo>
                <a:lnTo>
                  <a:pt x="2859" y="2110"/>
                </a:lnTo>
                <a:lnTo>
                  <a:pt x="2846" y="2042"/>
                </a:lnTo>
                <a:lnTo>
                  <a:pt x="2831" y="1974"/>
                </a:lnTo>
                <a:lnTo>
                  <a:pt x="2816" y="1908"/>
                </a:lnTo>
                <a:lnTo>
                  <a:pt x="2799" y="1844"/>
                </a:lnTo>
                <a:lnTo>
                  <a:pt x="2782" y="1780"/>
                </a:lnTo>
                <a:lnTo>
                  <a:pt x="2762" y="1718"/>
                </a:lnTo>
                <a:lnTo>
                  <a:pt x="2742" y="1657"/>
                </a:lnTo>
                <a:lnTo>
                  <a:pt x="2719" y="1597"/>
                </a:lnTo>
                <a:lnTo>
                  <a:pt x="2697" y="1539"/>
                </a:lnTo>
                <a:lnTo>
                  <a:pt x="2672" y="1480"/>
                </a:lnTo>
                <a:lnTo>
                  <a:pt x="2647" y="1424"/>
                </a:lnTo>
                <a:lnTo>
                  <a:pt x="2620" y="1369"/>
                </a:lnTo>
                <a:lnTo>
                  <a:pt x="2592" y="1314"/>
                </a:lnTo>
                <a:lnTo>
                  <a:pt x="2564" y="1262"/>
                </a:lnTo>
                <a:lnTo>
                  <a:pt x="2533" y="1210"/>
                </a:lnTo>
                <a:lnTo>
                  <a:pt x="2501" y="1160"/>
                </a:lnTo>
                <a:lnTo>
                  <a:pt x="2469" y="1110"/>
                </a:lnTo>
                <a:lnTo>
                  <a:pt x="2435" y="1062"/>
                </a:lnTo>
                <a:lnTo>
                  <a:pt x="2401" y="1014"/>
                </a:lnTo>
                <a:lnTo>
                  <a:pt x="2365" y="968"/>
                </a:lnTo>
                <a:lnTo>
                  <a:pt x="2327" y="924"/>
                </a:lnTo>
                <a:lnTo>
                  <a:pt x="2289" y="880"/>
                </a:lnTo>
                <a:lnTo>
                  <a:pt x="2249" y="838"/>
                </a:lnTo>
                <a:lnTo>
                  <a:pt x="2209" y="797"/>
                </a:lnTo>
                <a:lnTo>
                  <a:pt x="2167" y="756"/>
                </a:lnTo>
                <a:lnTo>
                  <a:pt x="2124" y="717"/>
                </a:lnTo>
                <a:lnTo>
                  <a:pt x="2081" y="678"/>
                </a:lnTo>
                <a:lnTo>
                  <a:pt x="2036" y="641"/>
                </a:lnTo>
                <a:lnTo>
                  <a:pt x="1990" y="605"/>
                </a:lnTo>
                <a:lnTo>
                  <a:pt x="1942" y="570"/>
                </a:lnTo>
                <a:lnTo>
                  <a:pt x="1894" y="536"/>
                </a:lnTo>
                <a:lnTo>
                  <a:pt x="1845" y="504"/>
                </a:lnTo>
                <a:lnTo>
                  <a:pt x="1794" y="472"/>
                </a:lnTo>
                <a:lnTo>
                  <a:pt x="1743" y="442"/>
                </a:lnTo>
                <a:lnTo>
                  <a:pt x="1691" y="412"/>
                </a:lnTo>
                <a:lnTo>
                  <a:pt x="1637" y="383"/>
                </a:lnTo>
                <a:lnTo>
                  <a:pt x="1584" y="356"/>
                </a:lnTo>
                <a:lnTo>
                  <a:pt x="1528" y="330"/>
                </a:lnTo>
                <a:lnTo>
                  <a:pt x="1472" y="304"/>
                </a:lnTo>
                <a:lnTo>
                  <a:pt x="1415" y="280"/>
                </a:lnTo>
                <a:lnTo>
                  <a:pt x="1356" y="256"/>
                </a:lnTo>
                <a:lnTo>
                  <a:pt x="1298" y="234"/>
                </a:lnTo>
                <a:lnTo>
                  <a:pt x="1236" y="213"/>
                </a:lnTo>
                <a:lnTo>
                  <a:pt x="1175" y="193"/>
                </a:lnTo>
                <a:lnTo>
                  <a:pt x="1114" y="173"/>
                </a:lnTo>
                <a:lnTo>
                  <a:pt x="1051" y="155"/>
                </a:lnTo>
                <a:lnTo>
                  <a:pt x="987" y="138"/>
                </a:lnTo>
                <a:lnTo>
                  <a:pt x="923" y="122"/>
                </a:lnTo>
                <a:lnTo>
                  <a:pt x="857" y="107"/>
                </a:lnTo>
                <a:lnTo>
                  <a:pt x="790" y="92"/>
                </a:lnTo>
                <a:lnTo>
                  <a:pt x="722" y="78"/>
                </a:lnTo>
                <a:lnTo>
                  <a:pt x="654" y="67"/>
                </a:lnTo>
                <a:lnTo>
                  <a:pt x="584" y="56"/>
                </a:lnTo>
                <a:lnTo>
                  <a:pt x="514" y="45"/>
                </a:lnTo>
                <a:lnTo>
                  <a:pt x="443" y="36"/>
                </a:lnTo>
                <a:lnTo>
                  <a:pt x="371" y="27"/>
                </a:lnTo>
                <a:lnTo>
                  <a:pt x="299" y="20"/>
                </a:lnTo>
                <a:lnTo>
                  <a:pt x="226" y="14"/>
                </a:lnTo>
                <a:lnTo>
                  <a:pt x="151" y="7"/>
                </a:lnTo>
                <a:lnTo>
                  <a:pt x="76" y="4"/>
                </a:lnTo>
                <a:lnTo>
                  <a:pt x="0" y="0"/>
                </a:lnTo>
                <a:lnTo>
                  <a:pt x="99" y="58"/>
                </a:lnTo>
                <a:lnTo>
                  <a:pt x="194" y="118"/>
                </a:lnTo>
                <a:lnTo>
                  <a:pt x="288" y="180"/>
                </a:lnTo>
                <a:lnTo>
                  <a:pt x="377" y="243"/>
                </a:lnTo>
                <a:lnTo>
                  <a:pt x="466" y="305"/>
                </a:lnTo>
                <a:lnTo>
                  <a:pt x="550" y="370"/>
                </a:lnTo>
                <a:lnTo>
                  <a:pt x="633" y="434"/>
                </a:lnTo>
                <a:lnTo>
                  <a:pt x="712" y="502"/>
                </a:lnTo>
                <a:lnTo>
                  <a:pt x="788" y="569"/>
                </a:lnTo>
                <a:lnTo>
                  <a:pt x="862" y="636"/>
                </a:lnTo>
                <a:lnTo>
                  <a:pt x="933" y="706"/>
                </a:lnTo>
                <a:lnTo>
                  <a:pt x="1000" y="777"/>
                </a:lnTo>
                <a:lnTo>
                  <a:pt x="1065" y="848"/>
                </a:lnTo>
                <a:lnTo>
                  <a:pt x="1096" y="884"/>
                </a:lnTo>
                <a:lnTo>
                  <a:pt x="1126" y="920"/>
                </a:lnTo>
                <a:lnTo>
                  <a:pt x="1156" y="957"/>
                </a:lnTo>
                <a:lnTo>
                  <a:pt x="1184" y="993"/>
                </a:lnTo>
                <a:lnTo>
                  <a:pt x="1213" y="1031"/>
                </a:lnTo>
                <a:lnTo>
                  <a:pt x="1240" y="1068"/>
                </a:lnTo>
                <a:lnTo>
                  <a:pt x="1266" y="1105"/>
                </a:lnTo>
                <a:lnTo>
                  <a:pt x="1293" y="1144"/>
                </a:lnTo>
                <a:lnTo>
                  <a:pt x="1317" y="1181"/>
                </a:lnTo>
                <a:lnTo>
                  <a:pt x="1341" y="1220"/>
                </a:lnTo>
                <a:lnTo>
                  <a:pt x="1365" y="1258"/>
                </a:lnTo>
                <a:lnTo>
                  <a:pt x="1387" y="1298"/>
                </a:lnTo>
                <a:lnTo>
                  <a:pt x="1408" y="1337"/>
                </a:lnTo>
                <a:lnTo>
                  <a:pt x="1429" y="1377"/>
                </a:lnTo>
                <a:lnTo>
                  <a:pt x="1449" y="1417"/>
                </a:lnTo>
                <a:lnTo>
                  <a:pt x="1468" y="1456"/>
                </a:lnTo>
                <a:lnTo>
                  <a:pt x="1487" y="1496"/>
                </a:lnTo>
                <a:lnTo>
                  <a:pt x="1504" y="1537"/>
                </a:lnTo>
                <a:lnTo>
                  <a:pt x="1522" y="1577"/>
                </a:lnTo>
                <a:lnTo>
                  <a:pt x="1538" y="1618"/>
                </a:lnTo>
                <a:lnTo>
                  <a:pt x="1553" y="1659"/>
                </a:lnTo>
                <a:lnTo>
                  <a:pt x="1566" y="1702"/>
                </a:lnTo>
                <a:lnTo>
                  <a:pt x="1580" y="1743"/>
                </a:lnTo>
                <a:lnTo>
                  <a:pt x="1593" y="1785"/>
                </a:lnTo>
                <a:lnTo>
                  <a:pt x="1604" y="1827"/>
                </a:lnTo>
                <a:lnTo>
                  <a:pt x="1615" y="1870"/>
                </a:lnTo>
                <a:lnTo>
                  <a:pt x="1625" y="1913"/>
                </a:lnTo>
                <a:lnTo>
                  <a:pt x="1634" y="1956"/>
                </a:lnTo>
                <a:lnTo>
                  <a:pt x="1642" y="1999"/>
                </a:lnTo>
                <a:lnTo>
                  <a:pt x="1650" y="2043"/>
                </a:lnTo>
                <a:lnTo>
                  <a:pt x="1656" y="2088"/>
                </a:lnTo>
                <a:lnTo>
                  <a:pt x="1661" y="2131"/>
                </a:lnTo>
                <a:lnTo>
                  <a:pt x="1666" y="2176"/>
                </a:lnTo>
                <a:lnTo>
                  <a:pt x="1670" y="2221"/>
                </a:lnTo>
                <a:lnTo>
                  <a:pt x="1672" y="2266"/>
                </a:lnTo>
                <a:lnTo>
                  <a:pt x="1675" y="2310"/>
                </a:lnTo>
                <a:lnTo>
                  <a:pt x="1675" y="2357"/>
                </a:lnTo>
                <a:lnTo>
                  <a:pt x="1676" y="2401"/>
                </a:lnTo>
                <a:lnTo>
                  <a:pt x="1017" y="1953"/>
                </a:lnTo>
                <a:lnTo>
                  <a:pt x="1106" y="2876"/>
                </a:lnTo>
                <a:lnTo>
                  <a:pt x="2445" y="3841"/>
                </a:lnTo>
                <a:lnTo>
                  <a:pt x="3580" y="2640"/>
                </a:lnTo>
                <a:close/>
              </a:path>
            </a:pathLst>
          </a:custGeom>
          <a:solidFill>
            <a:srgbClr val="C00000"/>
          </a:solidFill>
          <a:ln w="38100">
            <a:solidFill>
              <a:schemeClr val="bg1"/>
            </a:solidFill>
          </a:ln>
          <a:extLst/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0" indent="0">
              <a:buNone/>
            </a:pPr>
            <a:endParaRPr lang="zh-TW" altLang="en-US" dirty="0"/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2564" y="3179119"/>
            <a:ext cx="3810000" cy="163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356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0800" y="2422800"/>
            <a:ext cx="4589112" cy="4140000"/>
          </a:xfrm>
          <a:prstGeom prst="rect">
            <a:avLst/>
          </a:prstGeom>
        </p:spPr>
      </p:pic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TW" altLang="en-US" dirty="0"/>
              <a:t>繪圖指令</a:t>
            </a:r>
            <a:r>
              <a:rPr lang="en-US" altLang="zh-TW" dirty="0"/>
              <a:t>plot</a:t>
            </a:r>
            <a:r>
              <a:rPr lang="zh-TW" altLang="en-US" dirty="0" smtClean="0"/>
              <a:t>用法 </a:t>
            </a:r>
            <a:r>
              <a:rPr lang="en-US" altLang="zh-TW" dirty="0" smtClean="0"/>
              <a:t>(3/3</a:t>
            </a:r>
            <a:r>
              <a:rPr lang="en-US" altLang="zh-TW" dirty="0"/>
              <a:t>)</a:t>
            </a:r>
            <a:endParaRPr lang="zh-TW" altLang="zh-TW" dirty="0"/>
          </a:p>
        </p:txBody>
      </p:sp>
      <p:sp>
        <p:nvSpPr>
          <p:cNvPr id="48131" name="投影片編號版面配置區 5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85000" lnSpcReduction="20000"/>
          </a:bodyPr>
          <a:lstStyle/>
          <a:p>
            <a:fld id="{B89D914F-295F-4C2E-8701-5119655D00EA}" type="slidenum">
              <a:rPr lang="zh-TW" altLang="en-US"/>
              <a:pPr/>
              <a:t>8</a:t>
            </a:fld>
            <a:endParaRPr lang="en-US" altLang="zh-TW"/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1659052" y="1808941"/>
            <a:ext cx="9549516" cy="36933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/>
            <a:r>
              <a:rPr lang="en-US" altLang="zh-TW" sz="2000" b="1" dirty="0" smtClean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plot(X1,Y1</a:t>
            </a:r>
            <a:r>
              <a:rPr lang="en-US" altLang="zh-TW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, format1, X2,Y2, format2...)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：</a:t>
            </a:r>
            <a:r>
              <a:rPr lang="zh-TW" altLang="en-US" sz="24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將 </a:t>
            </a:r>
            <a:r>
              <a:rPr lang="en-US" altLang="zh-TW" sz="24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Y</a:t>
            </a:r>
            <a:r>
              <a:rPr lang="en-US" altLang="zh-TW" sz="2400" baseline="-25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i</a:t>
            </a:r>
            <a:r>
              <a:rPr lang="en-US" altLang="zh-TW" sz="24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 </a:t>
            </a:r>
            <a:r>
              <a:rPr lang="zh-TW" altLang="en-US" sz="24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對 </a:t>
            </a:r>
            <a:r>
              <a:rPr lang="en-US" altLang="zh-TW" sz="24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X</a:t>
            </a:r>
            <a:r>
              <a:rPr lang="en-US" altLang="zh-TW" sz="2400" baseline="-25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i</a:t>
            </a:r>
            <a:r>
              <a:rPr lang="en-US" altLang="zh-TW" sz="24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  </a:t>
            </a:r>
            <a:r>
              <a:rPr lang="zh-TW" altLang="zh-TW" sz="24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以 </a:t>
            </a:r>
            <a:r>
              <a:rPr lang="en-US" altLang="zh-TW" sz="2400" dirty="0" err="1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format</a:t>
            </a:r>
            <a:r>
              <a:rPr lang="en-US" altLang="zh-TW" sz="2400" baseline="-25000" dirty="0" err="1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i</a:t>
            </a:r>
            <a:r>
              <a:rPr lang="en-US" altLang="zh-TW" sz="24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 </a:t>
            </a:r>
            <a:r>
              <a:rPr lang="zh-TW" altLang="en-US" sz="24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做圖</a:t>
            </a:r>
          </a:p>
        </p:txBody>
      </p:sp>
      <p:sp>
        <p:nvSpPr>
          <p:cNvPr id="10" name="Oval 77"/>
          <p:cNvSpPr>
            <a:spLocks noChangeArrowheads="1"/>
          </p:cNvSpPr>
          <p:nvPr/>
        </p:nvSpPr>
        <p:spPr bwMode="auto">
          <a:xfrm>
            <a:off x="983432" y="184482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/>
            <a:r>
              <a:rPr lang="zh-TW" altLang="en-US" sz="2000" dirty="0" smtClean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★</a:t>
            </a:r>
            <a:endParaRPr lang="en-US" sz="2000" dirty="0">
              <a:solidFill>
                <a:srgbClr val="0E457D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7" name="KSO_Shape"/>
          <p:cNvSpPr>
            <a:spLocks noChangeAspect="1"/>
          </p:cNvSpPr>
          <p:nvPr/>
        </p:nvSpPr>
        <p:spPr bwMode="auto">
          <a:xfrm rot="18286279">
            <a:off x="5084858" y="3862833"/>
            <a:ext cx="694278" cy="745200"/>
          </a:xfrm>
          <a:custGeom>
            <a:avLst/>
            <a:gdLst>
              <a:gd name="T0" fmla="*/ 847238989 w 3580"/>
              <a:gd name="T1" fmla="*/ 847586626 h 3841"/>
              <a:gd name="T2" fmla="*/ 847238989 w 3580"/>
              <a:gd name="T3" fmla="*/ 847586626 h 3841"/>
              <a:gd name="T4" fmla="*/ 847238989 w 3580"/>
              <a:gd name="T5" fmla="*/ 847586626 h 3841"/>
              <a:gd name="T6" fmla="*/ 847238989 w 3580"/>
              <a:gd name="T7" fmla="*/ 847586626 h 3841"/>
              <a:gd name="T8" fmla="*/ 847238989 w 3580"/>
              <a:gd name="T9" fmla="*/ 847586626 h 3841"/>
              <a:gd name="T10" fmla="*/ 847238989 w 3580"/>
              <a:gd name="T11" fmla="*/ 847586626 h 3841"/>
              <a:gd name="T12" fmla="*/ 847238989 w 3580"/>
              <a:gd name="T13" fmla="*/ 847586626 h 3841"/>
              <a:gd name="T14" fmla="*/ 847238989 w 3580"/>
              <a:gd name="T15" fmla="*/ 847586626 h 3841"/>
              <a:gd name="T16" fmla="*/ 847238989 w 3580"/>
              <a:gd name="T17" fmla="*/ 847586626 h 3841"/>
              <a:gd name="T18" fmla="*/ 847238989 w 3580"/>
              <a:gd name="T19" fmla="*/ 847586626 h 3841"/>
              <a:gd name="T20" fmla="*/ 847238989 w 3580"/>
              <a:gd name="T21" fmla="*/ 847586626 h 3841"/>
              <a:gd name="T22" fmla="*/ 847238989 w 3580"/>
              <a:gd name="T23" fmla="*/ 847586626 h 3841"/>
              <a:gd name="T24" fmla="*/ 847238989 w 3580"/>
              <a:gd name="T25" fmla="*/ 847586626 h 3841"/>
              <a:gd name="T26" fmla="*/ 847238989 w 3580"/>
              <a:gd name="T27" fmla="*/ 847586626 h 3841"/>
              <a:gd name="T28" fmla="*/ 847238989 w 3580"/>
              <a:gd name="T29" fmla="*/ 847586626 h 3841"/>
              <a:gd name="T30" fmla="*/ 847238989 w 3580"/>
              <a:gd name="T31" fmla="*/ 847586626 h 3841"/>
              <a:gd name="T32" fmla="*/ 847238989 w 3580"/>
              <a:gd name="T33" fmla="*/ 847586626 h 3841"/>
              <a:gd name="T34" fmla="*/ 847238989 w 3580"/>
              <a:gd name="T35" fmla="*/ 847586626 h 3841"/>
              <a:gd name="T36" fmla="*/ 847238989 w 3580"/>
              <a:gd name="T37" fmla="*/ 847586626 h 3841"/>
              <a:gd name="T38" fmla="*/ 847238989 w 3580"/>
              <a:gd name="T39" fmla="*/ 847586626 h 3841"/>
              <a:gd name="T40" fmla="*/ 847238989 w 3580"/>
              <a:gd name="T41" fmla="*/ 847586626 h 3841"/>
              <a:gd name="T42" fmla="*/ 847238989 w 3580"/>
              <a:gd name="T43" fmla="*/ 847586626 h 3841"/>
              <a:gd name="T44" fmla="*/ 847238989 w 3580"/>
              <a:gd name="T45" fmla="*/ 847586626 h 3841"/>
              <a:gd name="T46" fmla="*/ 847238989 w 3580"/>
              <a:gd name="T47" fmla="*/ 847586626 h 3841"/>
              <a:gd name="T48" fmla="*/ 847238989 w 3580"/>
              <a:gd name="T49" fmla="*/ 847586626 h 3841"/>
              <a:gd name="T50" fmla="*/ 847238989 w 3580"/>
              <a:gd name="T51" fmla="*/ 847586626 h 3841"/>
              <a:gd name="T52" fmla="*/ 847238989 w 3580"/>
              <a:gd name="T53" fmla="*/ 847586626 h 3841"/>
              <a:gd name="T54" fmla="*/ 847238989 w 3580"/>
              <a:gd name="T55" fmla="*/ 847586626 h 3841"/>
              <a:gd name="T56" fmla="*/ 847238989 w 3580"/>
              <a:gd name="T57" fmla="*/ 847586626 h 3841"/>
              <a:gd name="T58" fmla="*/ 847238989 w 3580"/>
              <a:gd name="T59" fmla="*/ 847586626 h 3841"/>
              <a:gd name="T60" fmla="*/ 847238989 w 3580"/>
              <a:gd name="T61" fmla="*/ 847586626 h 3841"/>
              <a:gd name="T62" fmla="*/ 847238989 w 3580"/>
              <a:gd name="T63" fmla="*/ 847586626 h 3841"/>
              <a:gd name="T64" fmla="*/ 847238989 w 3580"/>
              <a:gd name="T65" fmla="*/ 847586626 h 3841"/>
              <a:gd name="T66" fmla="*/ 847238989 w 3580"/>
              <a:gd name="T67" fmla="*/ 847586626 h 3841"/>
              <a:gd name="T68" fmla="*/ 847238989 w 3580"/>
              <a:gd name="T69" fmla="*/ 847586626 h 3841"/>
              <a:gd name="T70" fmla="*/ 847238989 w 3580"/>
              <a:gd name="T71" fmla="*/ 847586626 h 3841"/>
              <a:gd name="T72" fmla="*/ 847238989 w 3580"/>
              <a:gd name="T73" fmla="*/ 847586626 h 3841"/>
              <a:gd name="T74" fmla="*/ 847238989 w 3580"/>
              <a:gd name="T75" fmla="*/ 847586626 h 3841"/>
              <a:gd name="T76" fmla="*/ 847238989 w 3580"/>
              <a:gd name="T77" fmla="*/ 847586626 h 3841"/>
              <a:gd name="T78" fmla="*/ 847238989 w 3580"/>
              <a:gd name="T79" fmla="*/ 847586626 h 3841"/>
              <a:gd name="T80" fmla="*/ 847238989 w 3580"/>
              <a:gd name="T81" fmla="*/ 847586626 h 3841"/>
              <a:gd name="T82" fmla="*/ 847238989 w 3580"/>
              <a:gd name="T83" fmla="*/ 847586626 h 3841"/>
              <a:gd name="T84" fmla="*/ 847238989 w 3580"/>
              <a:gd name="T85" fmla="*/ 847586626 h 3841"/>
              <a:gd name="T86" fmla="*/ 847238989 w 3580"/>
              <a:gd name="T87" fmla="*/ 847586626 h 3841"/>
              <a:gd name="T88" fmla="*/ 847238989 w 3580"/>
              <a:gd name="T89" fmla="*/ 847586626 h 3841"/>
              <a:gd name="T90" fmla="*/ 847238989 w 3580"/>
              <a:gd name="T91" fmla="*/ 847586626 h 3841"/>
              <a:gd name="T92" fmla="*/ 847238989 w 3580"/>
              <a:gd name="T93" fmla="*/ 847586626 h 3841"/>
              <a:gd name="T94" fmla="*/ 847238989 w 3580"/>
              <a:gd name="T95" fmla="*/ 847586626 h 3841"/>
              <a:gd name="T96" fmla="*/ 847238989 w 3580"/>
              <a:gd name="T97" fmla="*/ 847586626 h 3841"/>
              <a:gd name="T98" fmla="*/ 847238989 w 3580"/>
              <a:gd name="T99" fmla="*/ 847586626 h 3841"/>
              <a:gd name="T100" fmla="*/ 847238989 w 3580"/>
              <a:gd name="T101" fmla="*/ 847586626 h 3841"/>
              <a:gd name="T102" fmla="*/ 847238989 w 3580"/>
              <a:gd name="T103" fmla="*/ 847586626 h 3841"/>
              <a:gd name="T104" fmla="*/ 847238989 w 3580"/>
              <a:gd name="T105" fmla="*/ 847586626 h 3841"/>
              <a:gd name="T106" fmla="*/ 847238989 w 3580"/>
              <a:gd name="T107" fmla="*/ 847586626 h 3841"/>
              <a:gd name="T108" fmla="*/ 847238989 w 3580"/>
              <a:gd name="T109" fmla="*/ 847586626 h 3841"/>
              <a:gd name="T110" fmla="*/ 847238989 w 3580"/>
              <a:gd name="T111" fmla="*/ 847586626 h 3841"/>
              <a:gd name="T112" fmla="*/ 847238989 w 3580"/>
              <a:gd name="T113" fmla="*/ 847586626 h 3841"/>
              <a:gd name="T114" fmla="*/ 847238989 w 3580"/>
              <a:gd name="T115" fmla="*/ 847586626 h 3841"/>
              <a:gd name="T116" fmla="*/ 847238989 w 3580"/>
              <a:gd name="T117" fmla="*/ 847586626 h 3841"/>
              <a:gd name="T118" fmla="*/ 847238989 w 3580"/>
              <a:gd name="T119" fmla="*/ 847586626 h 3841"/>
              <a:gd name="T120" fmla="*/ 847238989 w 3580"/>
              <a:gd name="T121" fmla="*/ 847586626 h 3841"/>
              <a:gd name="T122" fmla="*/ 847238989 w 3580"/>
              <a:gd name="T123" fmla="*/ 847586626 h 3841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580" h="3841">
                <a:moveTo>
                  <a:pt x="3580" y="2640"/>
                </a:moveTo>
                <a:lnTo>
                  <a:pt x="3491" y="1718"/>
                </a:lnTo>
                <a:lnTo>
                  <a:pt x="2890" y="2323"/>
                </a:lnTo>
                <a:lnTo>
                  <a:pt x="2881" y="2251"/>
                </a:lnTo>
                <a:lnTo>
                  <a:pt x="2871" y="2180"/>
                </a:lnTo>
                <a:lnTo>
                  <a:pt x="2859" y="2110"/>
                </a:lnTo>
                <a:lnTo>
                  <a:pt x="2846" y="2042"/>
                </a:lnTo>
                <a:lnTo>
                  <a:pt x="2831" y="1974"/>
                </a:lnTo>
                <a:lnTo>
                  <a:pt x="2816" y="1908"/>
                </a:lnTo>
                <a:lnTo>
                  <a:pt x="2799" y="1844"/>
                </a:lnTo>
                <a:lnTo>
                  <a:pt x="2782" y="1780"/>
                </a:lnTo>
                <a:lnTo>
                  <a:pt x="2762" y="1718"/>
                </a:lnTo>
                <a:lnTo>
                  <a:pt x="2742" y="1657"/>
                </a:lnTo>
                <a:lnTo>
                  <a:pt x="2719" y="1597"/>
                </a:lnTo>
                <a:lnTo>
                  <a:pt x="2697" y="1539"/>
                </a:lnTo>
                <a:lnTo>
                  <a:pt x="2672" y="1480"/>
                </a:lnTo>
                <a:lnTo>
                  <a:pt x="2647" y="1424"/>
                </a:lnTo>
                <a:lnTo>
                  <a:pt x="2620" y="1369"/>
                </a:lnTo>
                <a:lnTo>
                  <a:pt x="2592" y="1314"/>
                </a:lnTo>
                <a:lnTo>
                  <a:pt x="2564" y="1262"/>
                </a:lnTo>
                <a:lnTo>
                  <a:pt x="2533" y="1210"/>
                </a:lnTo>
                <a:lnTo>
                  <a:pt x="2501" y="1160"/>
                </a:lnTo>
                <a:lnTo>
                  <a:pt x="2469" y="1110"/>
                </a:lnTo>
                <a:lnTo>
                  <a:pt x="2435" y="1062"/>
                </a:lnTo>
                <a:lnTo>
                  <a:pt x="2401" y="1014"/>
                </a:lnTo>
                <a:lnTo>
                  <a:pt x="2365" y="968"/>
                </a:lnTo>
                <a:lnTo>
                  <a:pt x="2327" y="924"/>
                </a:lnTo>
                <a:lnTo>
                  <a:pt x="2289" y="880"/>
                </a:lnTo>
                <a:lnTo>
                  <a:pt x="2249" y="838"/>
                </a:lnTo>
                <a:lnTo>
                  <a:pt x="2209" y="797"/>
                </a:lnTo>
                <a:lnTo>
                  <a:pt x="2167" y="756"/>
                </a:lnTo>
                <a:lnTo>
                  <a:pt x="2124" y="717"/>
                </a:lnTo>
                <a:lnTo>
                  <a:pt x="2081" y="678"/>
                </a:lnTo>
                <a:lnTo>
                  <a:pt x="2036" y="641"/>
                </a:lnTo>
                <a:lnTo>
                  <a:pt x="1990" y="605"/>
                </a:lnTo>
                <a:lnTo>
                  <a:pt x="1942" y="570"/>
                </a:lnTo>
                <a:lnTo>
                  <a:pt x="1894" y="536"/>
                </a:lnTo>
                <a:lnTo>
                  <a:pt x="1845" y="504"/>
                </a:lnTo>
                <a:lnTo>
                  <a:pt x="1794" y="472"/>
                </a:lnTo>
                <a:lnTo>
                  <a:pt x="1743" y="442"/>
                </a:lnTo>
                <a:lnTo>
                  <a:pt x="1691" y="412"/>
                </a:lnTo>
                <a:lnTo>
                  <a:pt x="1637" y="383"/>
                </a:lnTo>
                <a:lnTo>
                  <a:pt x="1584" y="356"/>
                </a:lnTo>
                <a:lnTo>
                  <a:pt x="1528" y="330"/>
                </a:lnTo>
                <a:lnTo>
                  <a:pt x="1472" y="304"/>
                </a:lnTo>
                <a:lnTo>
                  <a:pt x="1415" y="280"/>
                </a:lnTo>
                <a:lnTo>
                  <a:pt x="1356" y="256"/>
                </a:lnTo>
                <a:lnTo>
                  <a:pt x="1298" y="234"/>
                </a:lnTo>
                <a:lnTo>
                  <a:pt x="1236" y="213"/>
                </a:lnTo>
                <a:lnTo>
                  <a:pt x="1175" y="193"/>
                </a:lnTo>
                <a:lnTo>
                  <a:pt x="1114" y="173"/>
                </a:lnTo>
                <a:lnTo>
                  <a:pt x="1051" y="155"/>
                </a:lnTo>
                <a:lnTo>
                  <a:pt x="987" y="138"/>
                </a:lnTo>
                <a:lnTo>
                  <a:pt x="923" y="122"/>
                </a:lnTo>
                <a:lnTo>
                  <a:pt x="857" y="107"/>
                </a:lnTo>
                <a:lnTo>
                  <a:pt x="790" y="92"/>
                </a:lnTo>
                <a:lnTo>
                  <a:pt x="722" y="78"/>
                </a:lnTo>
                <a:lnTo>
                  <a:pt x="654" y="67"/>
                </a:lnTo>
                <a:lnTo>
                  <a:pt x="584" y="56"/>
                </a:lnTo>
                <a:lnTo>
                  <a:pt x="514" y="45"/>
                </a:lnTo>
                <a:lnTo>
                  <a:pt x="443" y="36"/>
                </a:lnTo>
                <a:lnTo>
                  <a:pt x="371" y="27"/>
                </a:lnTo>
                <a:lnTo>
                  <a:pt x="299" y="20"/>
                </a:lnTo>
                <a:lnTo>
                  <a:pt x="226" y="14"/>
                </a:lnTo>
                <a:lnTo>
                  <a:pt x="151" y="7"/>
                </a:lnTo>
                <a:lnTo>
                  <a:pt x="76" y="4"/>
                </a:lnTo>
                <a:lnTo>
                  <a:pt x="0" y="0"/>
                </a:lnTo>
                <a:lnTo>
                  <a:pt x="99" y="58"/>
                </a:lnTo>
                <a:lnTo>
                  <a:pt x="194" y="118"/>
                </a:lnTo>
                <a:lnTo>
                  <a:pt x="288" y="180"/>
                </a:lnTo>
                <a:lnTo>
                  <a:pt x="377" y="243"/>
                </a:lnTo>
                <a:lnTo>
                  <a:pt x="466" y="305"/>
                </a:lnTo>
                <a:lnTo>
                  <a:pt x="550" y="370"/>
                </a:lnTo>
                <a:lnTo>
                  <a:pt x="633" y="434"/>
                </a:lnTo>
                <a:lnTo>
                  <a:pt x="712" y="502"/>
                </a:lnTo>
                <a:lnTo>
                  <a:pt x="788" y="569"/>
                </a:lnTo>
                <a:lnTo>
                  <a:pt x="862" y="636"/>
                </a:lnTo>
                <a:lnTo>
                  <a:pt x="933" y="706"/>
                </a:lnTo>
                <a:lnTo>
                  <a:pt x="1000" y="777"/>
                </a:lnTo>
                <a:lnTo>
                  <a:pt x="1065" y="848"/>
                </a:lnTo>
                <a:lnTo>
                  <a:pt x="1096" y="884"/>
                </a:lnTo>
                <a:lnTo>
                  <a:pt x="1126" y="920"/>
                </a:lnTo>
                <a:lnTo>
                  <a:pt x="1156" y="957"/>
                </a:lnTo>
                <a:lnTo>
                  <a:pt x="1184" y="993"/>
                </a:lnTo>
                <a:lnTo>
                  <a:pt x="1213" y="1031"/>
                </a:lnTo>
                <a:lnTo>
                  <a:pt x="1240" y="1068"/>
                </a:lnTo>
                <a:lnTo>
                  <a:pt x="1266" y="1105"/>
                </a:lnTo>
                <a:lnTo>
                  <a:pt x="1293" y="1144"/>
                </a:lnTo>
                <a:lnTo>
                  <a:pt x="1317" y="1181"/>
                </a:lnTo>
                <a:lnTo>
                  <a:pt x="1341" y="1220"/>
                </a:lnTo>
                <a:lnTo>
                  <a:pt x="1365" y="1258"/>
                </a:lnTo>
                <a:lnTo>
                  <a:pt x="1387" y="1298"/>
                </a:lnTo>
                <a:lnTo>
                  <a:pt x="1408" y="1337"/>
                </a:lnTo>
                <a:lnTo>
                  <a:pt x="1429" y="1377"/>
                </a:lnTo>
                <a:lnTo>
                  <a:pt x="1449" y="1417"/>
                </a:lnTo>
                <a:lnTo>
                  <a:pt x="1468" y="1456"/>
                </a:lnTo>
                <a:lnTo>
                  <a:pt x="1487" y="1496"/>
                </a:lnTo>
                <a:lnTo>
                  <a:pt x="1504" y="1537"/>
                </a:lnTo>
                <a:lnTo>
                  <a:pt x="1522" y="1577"/>
                </a:lnTo>
                <a:lnTo>
                  <a:pt x="1538" y="1618"/>
                </a:lnTo>
                <a:lnTo>
                  <a:pt x="1553" y="1659"/>
                </a:lnTo>
                <a:lnTo>
                  <a:pt x="1566" y="1702"/>
                </a:lnTo>
                <a:lnTo>
                  <a:pt x="1580" y="1743"/>
                </a:lnTo>
                <a:lnTo>
                  <a:pt x="1593" y="1785"/>
                </a:lnTo>
                <a:lnTo>
                  <a:pt x="1604" y="1827"/>
                </a:lnTo>
                <a:lnTo>
                  <a:pt x="1615" y="1870"/>
                </a:lnTo>
                <a:lnTo>
                  <a:pt x="1625" y="1913"/>
                </a:lnTo>
                <a:lnTo>
                  <a:pt x="1634" y="1956"/>
                </a:lnTo>
                <a:lnTo>
                  <a:pt x="1642" y="1999"/>
                </a:lnTo>
                <a:lnTo>
                  <a:pt x="1650" y="2043"/>
                </a:lnTo>
                <a:lnTo>
                  <a:pt x="1656" y="2088"/>
                </a:lnTo>
                <a:lnTo>
                  <a:pt x="1661" y="2131"/>
                </a:lnTo>
                <a:lnTo>
                  <a:pt x="1666" y="2176"/>
                </a:lnTo>
                <a:lnTo>
                  <a:pt x="1670" y="2221"/>
                </a:lnTo>
                <a:lnTo>
                  <a:pt x="1672" y="2266"/>
                </a:lnTo>
                <a:lnTo>
                  <a:pt x="1675" y="2310"/>
                </a:lnTo>
                <a:lnTo>
                  <a:pt x="1675" y="2357"/>
                </a:lnTo>
                <a:lnTo>
                  <a:pt x="1676" y="2401"/>
                </a:lnTo>
                <a:lnTo>
                  <a:pt x="1017" y="1953"/>
                </a:lnTo>
                <a:lnTo>
                  <a:pt x="1106" y="2876"/>
                </a:lnTo>
                <a:lnTo>
                  <a:pt x="2445" y="3841"/>
                </a:lnTo>
                <a:lnTo>
                  <a:pt x="3580" y="2640"/>
                </a:lnTo>
                <a:close/>
              </a:path>
            </a:pathLst>
          </a:custGeom>
          <a:solidFill>
            <a:srgbClr val="C00000"/>
          </a:solidFill>
          <a:ln w="38100">
            <a:solidFill>
              <a:schemeClr val="bg1"/>
            </a:solidFill>
          </a:ln>
          <a:extLst/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" name="內容版面配置區 1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endParaRPr lang="zh-TW" altLang="en-US" dirty="0"/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6956" y="3274701"/>
            <a:ext cx="3867150" cy="167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844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altLang="zh-TW" dirty="0"/>
              <a:t>plot </a:t>
            </a:r>
            <a:r>
              <a:rPr lang="zh-TW" altLang="en-US" dirty="0" smtClean="0"/>
              <a:t>線條顏色及樣式</a:t>
            </a:r>
            <a:endParaRPr lang="zh-TW" altLang="en-US" dirty="0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pPr>
              <a:defRPr/>
            </a:pPr>
            <a:fld id="{9864C0B4-EC1E-4FC9-B104-936E49C44DDA}" type="slidenum">
              <a:rPr lang="zh-TW" altLang="en-US" smtClean="0"/>
              <a:pPr>
                <a:defRPr/>
              </a:pPr>
              <a:t>9</a:t>
            </a:fld>
            <a:endParaRPr lang="en-US" altLang="zh-TW" dirty="0"/>
          </a:p>
        </p:txBody>
      </p:sp>
      <p:sp>
        <p:nvSpPr>
          <p:cNvPr id="51202" name="Rectangle 3"/>
          <p:cNvSpPr>
            <a:spLocks noGrp="1" noChangeArrowheads="1"/>
          </p:cNvSpPr>
          <p:nvPr>
            <p:ph sz="quarter" idx="1"/>
          </p:nvPr>
        </p:nvSpPr>
        <p:spPr/>
        <p:txBody>
          <a:bodyPr/>
          <a:lstStyle/>
          <a:p>
            <a:pPr>
              <a:buFont typeface="Wingdings" pitchFamily="2" charset="2"/>
              <a:buNone/>
            </a:pPr>
            <a:r>
              <a:rPr lang="en-US" altLang="zh-TW"/>
              <a:t> </a:t>
            </a:r>
          </a:p>
        </p:txBody>
      </p:sp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7284875"/>
              </p:ext>
            </p:extLst>
          </p:nvPr>
        </p:nvGraphicFramePr>
        <p:xfrm>
          <a:off x="1631504" y="2204864"/>
          <a:ext cx="3528392" cy="3566160"/>
        </p:xfrm>
        <a:graphic>
          <a:graphicData uri="http://schemas.openxmlformats.org/drawingml/2006/table">
            <a:tbl>
              <a:tblPr firstRow="1"/>
              <a:tblGrid>
                <a:gridCol w="2304256">
                  <a:extLst>
                    <a:ext uri="{9D8B030D-6E8A-4147-A177-3AD203B41FA5}">
                      <a16:colId xmlns:a16="http://schemas.microsoft.com/office/drawing/2014/main" val="2866711560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3327043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曲線顏色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指令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15039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藍色</a:t>
                      </a:r>
                      <a:r>
                        <a:rPr kumimoji="1" lang="en-US" altLang="zh-TW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Blue)</a:t>
                      </a: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b</a:t>
                      </a: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1915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青藍色</a:t>
                      </a: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Cyan)</a:t>
                      </a: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12615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綠色</a:t>
                      </a: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Green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g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8594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黑色</a:t>
                      </a: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Black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k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8613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紫黑色</a:t>
                      </a: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Magenta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m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27965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紅色</a:t>
                      </a: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Red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17919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白色</a:t>
                      </a:r>
                      <a:r>
                        <a:rPr kumimoji="1" lang="en-US" altLang="zh-TW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White)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w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43423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黃色</a:t>
                      </a: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Yellow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y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9412564"/>
                  </a:ext>
                </a:extLst>
              </a:tr>
            </a:tbl>
          </a:graphicData>
        </a:graphic>
      </p:graphicFrame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9881832"/>
              </p:ext>
            </p:extLst>
          </p:nvPr>
        </p:nvGraphicFramePr>
        <p:xfrm>
          <a:off x="6456040" y="2204864"/>
          <a:ext cx="3528392" cy="1981200"/>
        </p:xfrm>
        <a:graphic>
          <a:graphicData uri="http://schemas.openxmlformats.org/drawingml/2006/table">
            <a:tbl>
              <a:tblPr firstRow="1"/>
              <a:tblGrid>
                <a:gridCol w="2304256">
                  <a:extLst>
                    <a:ext uri="{9D8B030D-6E8A-4147-A177-3AD203B41FA5}">
                      <a16:colId xmlns:a16="http://schemas.microsoft.com/office/drawing/2014/main" val="2866711560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3327043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曲線顏色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指令</a:t>
                      </a:r>
                      <a:endParaRPr kumimoji="1" lang="zh-TW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15039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實線</a:t>
                      </a: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預設值</a:t>
                      </a: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) </a:t>
                      </a: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1915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虛線 </a:t>
                      </a:r>
                    </a:p>
                  </a:txBody>
                  <a:tcPr horzOverflow="overflow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-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12615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點線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：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8594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zh-TW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點虛線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zh-TW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-.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529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8613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3674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_rels/them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2529F"/>
      </a:accent1>
      <a:accent2>
        <a:srgbClr val="162E46"/>
      </a:accent2>
      <a:accent3>
        <a:srgbClr val="E4E4EF"/>
      </a:accent3>
      <a:accent4>
        <a:srgbClr val="D6953E"/>
      </a:accent4>
      <a:accent5>
        <a:srgbClr val="858588"/>
      </a:accent5>
      <a:accent6>
        <a:srgbClr val="B4BAD1"/>
      </a:accent6>
      <a:hlink>
        <a:srgbClr val="4276AA"/>
      </a:hlink>
      <a:folHlink>
        <a:srgbClr val="BFBFB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中庸">
  <a:themeElements>
    <a:clrScheme name="自訂 3">
      <a:dk1>
        <a:sysClr val="windowText" lastClr="000000"/>
      </a:dk1>
      <a:lt1>
        <a:sysClr val="window" lastClr="FFFFFF"/>
      </a:lt1>
      <a:dk2>
        <a:srgbClr val="775F55"/>
      </a:dk2>
      <a:lt2>
        <a:srgbClr val="EBDDC3"/>
      </a:lt2>
      <a:accent1>
        <a:srgbClr val="94B6D2"/>
      </a:accent1>
      <a:accent2>
        <a:srgbClr val="DD8047"/>
      </a:accent2>
      <a:accent3>
        <a:srgbClr val="A5AB81"/>
      </a:accent3>
      <a:accent4>
        <a:srgbClr val="D8B25C"/>
      </a:accent4>
      <a:accent5>
        <a:srgbClr val="7BA79D"/>
      </a:accent5>
      <a:accent6>
        <a:srgbClr val="968C8C"/>
      </a:accent6>
      <a:hlink>
        <a:srgbClr val="0000FF"/>
      </a:hlink>
      <a:folHlink>
        <a:srgbClr val="6565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中庸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佈景主題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佈景主題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2529F"/>
    </a:accent1>
    <a:accent2>
      <a:srgbClr val="162E46"/>
    </a:accent2>
    <a:accent3>
      <a:srgbClr val="E4E4EF"/>
    </a:accent3>
    <a:accent4>
      <a:srgbClr val="D6953E"/>
    </a:accent4>
    <a:accent5>
      <a:srgbClr val="858588"/>
    </a:accent5>
    <a:accent6>
      <a:srgbClr val="B4BAD1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佈景主題1</Template>
  <TotalTime>15806</TotalTime>
  <Words>2017</Words>
  <Application>Microsoft Office PowerPoint</Application>
  <PresentationFormat>寬螢幕</PresentationFormat>
  <Paragraphs>346</Paragraphs>
  <Slides>35</Slides>
  <Notes>2</Notes>
  <HiddenSlides>0</HiddenSlides>
  <MMClips>0</MMClips>
  <ScaleCrop>false</ScaleCrop>
  <HeadingPairs>
    <vt:vector size="8" baseType="variant">
      <vt:variant>
        <vt:lpstr>使用字型</vt:lpstr>
      </vt:variant>
      <vt:variant>
        <vt:i4>13</vt:i4>
      </vt:variant>
      <vt:variant>
        <vt:lpstr>佈景主題</vt:lpstr>
      </vt:variant>
      <vt:variant>
        <vt:i4>2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35</vt:i4>
      </vt:variant>
    </vt:vector>
  </HeadingPairs>
  <TitlesOfParts>
    <vt:vector size="51" baseType="lpstr">
      <vt:lpstr>微软雅黑</vt:lpstr>
      <vt:lpstr>黑体</vt:lpstr>
      <vt:lpstr>宋体</vt:lpstr>
      <vt:lpstr>細明體</vt:lpstr>
      <vt:lpstr>微軟正黑體</vt:lpstr>
      <vt:lpstr>新細明體</vt:lpstr>
      <vt:lpstr>標楷體</vt:lpstr>
      <vt:lpstr>Agency FB</vt:lpstr>
      <vt:lpstr>Arial</vt:lpstr>
      <vt:lpstr>Calibri</vt:lpstr>
      <vt:lpstr>Times New Roman</vt:lpstr>
      <vt:lpstr>Wingdings</vt:lpstr>
      <vt:lpstr>Wingdings 2</vt:lpstr>
      <vt:lpstr>主题5</vt:lpstr>
      <vt:lpstr>中庸</vt:lpstr>
      <vt:lpstr>think-cell Slide</vt:lpstr>
      <vt:lpstr>數位信號處理實驗 (DSP)</vt:lpstr>
      <vt:lpstr>課程規範 (1/2)</vt:lpstr>
      <vt:lpstr>課程規範 (2/2)</vt:lpstr>
      <vt:lpstr>教學影片</vt:lpstr>
      <vt:lpstr>二維基本繪圖指令</vt:lpstr>
      <vt:lpstr>繪圖指令plot用法 (1/3)</vt:lpstr>
      <vt:lpstr>繪圖指令plot用法 (2/3)</vt:lpstr>
      <vt:lpstr>繪圖指令plot用法 (3/3)</vt:lpstr>
      <vt:lpstr>plot 線條顏色及樣式</vt:lpstr>
      <vt:lpstr>plot 線條符號</vt:lpstr>
      <vt:lpstr>圖表標題與圖例</vt:lpstr>
      <vt:lpstr>如何同時呈現多個圖形 (1/3)</vt:lpstr>
      <vt:lpstr>如何同時呈現多個圖形 (2/3)</vt:lpstr>
      <vt:lpstr>如何同時呈現多個圖形 (3/3)</vt:lpstr>
      <vt:lpstr>圖形屬性視窗</vt:lpstr>
      <vt:lpstr>圖檔的儲存</vt:lpstr>
      <vt:lpstr>其他二維圖形 (1/4)</vt:lpstr>
      <vt:lpstr>其他二維圖形 (2/4)</vt:lpstr>
      <vt:lpstr>其他二維圖形 (3/4)</vt:lpstr>
      <vt:lpstr>其他二維圖形 (4/4)</vt:lpstr>
      <vt:lpstr>產生波型_加入白雜訊</vt:lpstr>
      <vt:lpstr>產生常用序列</vt:lpstr>
      <vt:lpstr>產生鋸齒波與方波</vt:lpstr>
      <vt:lpstr>load指令</vt:lpstr>
      <vt:lpstr>具標頭檔案之讀取</vt:lpstr>
      <vt:lpstr>儲存所有的變數</vt:lpstr>
      <vt:lpstr>其餘指令補充 (1/2)</vt:lpstr>
      <vt:lpstr>其餘指令補充 (2/2)</vt:lpstr>
      <vt:lpstr>資料格式與控制標</vt:lpstr>
      <vt:lpstr>作業：Lab2 MATLAB 基本繪圖與訊號產生 (1/3)</vt:lpstr>
      <vt:lpstr>作業：Lab2 MATLAB 基本繪圖與訊號產生 (2/3)</vt:lpstr>
      <vt:lpstr>作業：Lab2 MATLAB 基本繪圖與訊號產生 (3/3)</vt:lpstr>
      <vt:lpstr>Homework：Lab2 (1/3)</vt:lpstr>
      <vt:lpstr>Homework：Lab2 (2/3)</vt:lpstr>
      <vt:lpstr>Homework：Lab2 (3/3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TLAB© 簡介</dc:title>
  <dc:creator>林峰毅</dc:creator>
  <cp:lastModifiedBy>wimoc_70639</cp:lastModifiedBy>
  <cp:revision>551</cp:revision>
  <cp:lastPrinted>2020-09-24T04:17:42Z</cp:lastPrinted>
  <dcterms:created xsi:type="dcterms:W3CDTF">2000-07-16T03:35:59Z</dcterms:created>
  <dcterms:modified xsi:type="dcterms:W3CDTF">2021-10-06T06:17:38Z</dcterms:modified>
</cp:coreProperties>
</file>